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1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672" r:id="rId5"/>
    <p:sldMasterId id="2147483681" r:id="rId6"/>
    <p:sldMasterId id="2147483685" r:id="rId7"/>
    <p:sldMasterId id="2147483689" r:id="rId8"/>
  </p:sldMasterIdLst>
  <p:notesMasterIdLst>
    <p:notesMasterId r:id="rId13"/>
  </p:notesMasterIdLst>
  <p:handoutMasterIdLst>
    <p:handoutMasterId r:id="rId14"/>
  </p:handoutMasterIdLst>
  <p:sldIdLst>
    <p:sldId id="429" r:id="rId9"/>
    <p:sldId id="451" r:id="rId10"/>
    <p:sldId id="450" r:id="rId11"/>
    <p:sldId id="309" r:id="rId12"/>
  </p:sldIdLst>
  <p:sldSz cx="9144000" cy="5143500" type="screen16x9"/>
  <p:notesSz cx="7010400" cy="9236075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pitchFamily="124" charset="-128"/>
        <a:cs typeface="+mn-cs"/>
      </a:defRPr>
    </a:lvl1pPr>
    <a:lvl2pPr marL="389626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pitchFamily="124" charset="-128"/>
        <a:cs typeface="+mn-cs"/>
      </a:defRPr>
    </a:lvl2pPr>
    <a:lvl3pPr marL="779252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pitchFamily="124" charset="-128"/>
        <a:cs typeface="+mn-cs"/>
      </a:defRPr>
    </a:lvl3pPr>
    <a:lvl4pPr marL="1168878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pitchFamily="124" charset="-128"/>
        <a:cs typeface="+mn-cs"/>
      </a:defRPr>
    </a:lvl4pPr>
    <a:lvl5pPr marL="1558503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ヒラギノ角ゴ Pro W3" pitchFamily="124" charset="-128"/>
        <a:cs typeface="+mn-cs"/>
      </a:defRPr>
    </a:lvl5pPr>
    <a:lvl6pPr marL="1948129" algn="l" defTabSz="779252" rtl="0" eaLnBrk="1" latinLnBrk="0" hangingPunct="1">
      <a:defRPr sz="1200" kern="1200">
        <a:solidFill>
          <a:schemeClr val="tx1"/>
        </a:solidFill>
        <a:latin typeface="Arial" pitchFamily="34" charset="0"/>
        <a:ea typeface="ヒラギノ角ゴ Pro W3" pitchFamily="124" charset="-128"/>
        <a:cs typeface="+mn-cs"/>
      </a:defRPr>
    </a:lvl6pPr>
    <a:lvl7pPr marL="2337755" algn="l" defTabSz="779252" rtl="0" eaLnBrk="1" latinLnBrk="0" hangingPunct="1">
      <a:defRPr sz="1200" kern="1200">
        <a:solidFill>
          <a:schemeClr val="tx1"/>
        </a:solidFill>
        <a:latin typeface="Arial" pitchFamily="34" charset="0"/>
        <a:ea typeface="ヒラギノ角ゴ Pro W3" pitchFamily="124" charset="-128"/>
        <a:cs typeface="+mn-cs"/>
      </a:defRPr>
    </a:lvl7pPr>
    <a:lvl8pPr marL="2727381" algn="l" defTabSz="779252" rtl="0" eaLnBrk="1" latinLnBrk="0" hangingPunct="1">
      <a:defRPr sz="1200" kern="1200">
        <a:solidFill>
          <a:schemeClr val="tx1"/>
        </a:solidFill>
        <a:latin typeface="Arial" pitchFamily="34" charset="0"/>
        <a:ea typeface="ヒラギノ角ゴ Pro W3" pitchFamily="124" charset="-128"/>
        <a:cs typeface="+mn-cs"/>
      </a:defRPr>
    </a:lvl8pPr>
    <a:lvl9pPr marL="3117007" algn="l" defTabSz="779252" rtl="0" eaLnBrk="1" latinLnBrk="0" hangingPunct="1">
      <a:defRPr sz="1200" kern="1200">
        <a:solidFill>
          <a:schemeClr val="tx1"/>
        </a:solidFill>
        <a:latin typeface="Arial" pitchFamily="34" charset="0"/>
        <a:ea typeface="ヒラギノ角ゴ Pro W3" pitchFamily="12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32" userDrawn="1">
          <p15:clr>
            <a:srgbClr val="A4A3A4"/>
          </p15:clr>
        </p15:guide>
        <p15:guide id="4" orient="horz" pos="2748" userDrawn="1">
          <p15:clr>
            <a:srgbClr val="A4A3A4"/>
          </p15:clr>
        </p15:guide>
        <p15:guide id="5" orient="horz" pos="3888">
          <p15:clr>
            <a:srgbClr val="A4A3A4"/>
          </p15:clr>
        </p15:guide>
        <p15:guide id="11" pos="5760" userDrawn="1">
          <p15:clr>
            <a:srgbClr val="A4A3A4"/>
          </p15:clr>
        </p15:guide>
        <p15:guide id="15" pos="6144">
          <p15:clr>
            <a:srgbClr val="A4A3A4"/>
          </p15:clr>
        </p15:guide>
        <p15:guide id="16" orient="horz" pos="276" userDrawn="1">
          <p15:clr>
            <a:srgbClr val="A4A3A4"/>
          </p15:clr>
        </p15:guide>
        <p15:guide id="20" pos="2736" userDrawn="1">
          <p15:clr>
            <a:srgbClr val="A4A3A4"/>
          </p15:clr>
        </p15:guide>
        <p15:guide id="21" pos="5688" userDrawn="1">
          <p15:clr>
            <a:srgbClr val="A4A3A4"/>
          </p15:clr>
        </p15:guide>
        <p15:guide id="22" orient="horz" pos="1956" userDrawn="1">
          <p15:clr>
            <a:srgbClr val="A4A3A4"/>
          </p15:clr>
        </p15:guide>
        <p15:guide id="26" orient="horz" pos="3036" userDrawn="1">
          <p15:clr>
            <a:srgbClr val="A4A3A4"/>
          </p15:clr>
        </p15:guide>
        <p15:guide id="27" orient="horz" pos="1644" userDrawn="1">
          <p15:clr>
            <a:srgbClr val="A4A3A4"/>
          </p15:clr>
        </p15:guide>
        <p15:guide id="28" orient="horz" pos="1860" userDrawn="1">
          <p15:clr>
            <a:srgbClr val="A4A3A4"/>
          </p15:clr>
        </p15:guide>
        <p15:guide id="29" pos="2880" userDrawn="1">
          <p15:clr>
            <a:srgbClr val="A4A3A4"/>
          </p15:clr>
        </p15:guide>
        <p15:guide id="31" orient="horz" pos="804" userDrawn="1">
          <p15:clr>
            <a:srgbClr val="A4A3A4"/>
          </p15:clr>
        </p15:guide>
        <p15:guide id="32" pos="5448" userDrawn="1">
          <p15:clr>
            <a:srgbClr val="A4A3A4"/>
          </p15:clr>
        </p15:guide>
        <p15:guide id="33" pos="480" userDrawn="1">
          <p15:clr>
            <a:srgbClr val="A4A3A4"/>
          </p15:clr>
        </p15:guide>
        <p15:guide id="34" pos="336" userDrawn="1">
          <p15:clr>
            <a:srgbClr val="A4A3A4"/>
          </p15:clr>
        </p15:guide>
        <p15:guide id="35" orient="horz" pos="348" userDrawn="1">
          <p15:clr>
            <a:srgbClr val="A4A3A4"/>
          </p15:clr>
        </p15:guide>
        <p15:guide id="36" orient="horz" pos="2169">
          <p15:clr>
            <a:srgbClr val="A4A3A4"/>
          </p15:clr>
        </p15:guide>
        <p15:guide id="37" orient="horz" pos="3239">
          <p15:clr>
            <a:srgbClr val="A4A3A4"/>
          </p15:clr>
        </p15:guide>
        <p15:guide id="38" orient="horz" pos="606">
          <p15:clr>
            <a:srgbClr val="A4A3A4"/>
          </p15:clr>
        </p15:guide>
        <p15:guide id="39" orient="horz" pos="2772">
          <p15:clr>
            <a:srgbClr val="A4A3A4"/>
          </p15:clr>
        </p15:guide>
        <p15:guide id="40" pos="5759">
          <p15:clr>
            <a:srgbClr val="A4A3A4"/>
          </p15:clr>
        </p15:guide>
        <p15:guide id="41" pos="5700">
          <p15:clr>
            <a:srgbClr val="A4A3A4"/>
          </p15:clr>
        </p15:guide>
        <p15:guide id="42" pos="2944">
          <p15:clr>
            <a:srgbClr val="A4A3A4"/>
          </p15:clr>
        </p15:guide>
        <p15:guide id="43" pos="4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6E00"/>
    <a:srgbClr val="FFCC00"/>
    <a:srgbClr val="000000"/>
    <a:srgbClr val="2C2D8B"/>
    <a:srgbClr val="00008C"/>
    <a:srgbClr val="00CCFF"/>
    <a:srgbClr val="F2F2F2"/>
    <a:srgbClr val="001EFF"/>
    <a:srgbClr val="9AF7FF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0EEC17-871F-4324-8486-BC4ED2BC88C3}" v="9" dt="2021-03-12T08:34:33.917"/>
    <p1510:client id="{40BBCD1E-9D63-5D03-1094-5CF9E5F25290}" v="84" dt="2021-03-12T08:22:45.182"/>
    <p1510:client id="{C6F332A3-F916-4489-8538-8F4AA36C66FE}" v="14" dt="2021-03-12T08:35:27.836"/>
    <p1510:client id="{D650C287-9724-42F1-B404-848328607B98}" v="5" dt="2021-03-12T09:51:39.03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12" autoAdjust="0"/>
    <p:restoredTop sz="99642" autoAdjust="0"/>
  </p:normalViewPr>
  <p:slideViewPr>
    <p:cSldViewPr snapToGrid="0">
      <p:cViewPr varScale="1">
        <p:scale>
          <a:sx n="114" d="100"/>
          <a:sy n="114" d="100"/>
        </p:scale>
        <p:origin x="734" y="86"/>
      </p:cViewPr>
      <p:guideLst>
        <p:guide orient="horz" pos="2532"/>
        <p:guide orient="horz" pos="2748"/>
        <p:guide orient="horz" pos="3888"/>
        <p:guide pos="5760"/>
        <p:guide pos="6144"/>
        <p:guide orient="horz" pos="276"/>
        <p:guide pos="2736"/>
        <p:guide pos="5688"/>
        <p:guide orient="horz" pos="1956"/>
        <p:guide orient="horz" pos="3036"/>
        <p:guide orient="horz" pos="1644"/>
        <p:guide orient="horz" pos="1860"/>
        <p:guide pos="2880"/>
        <p:guide orient="horz" pos="804"/>
        <p:guide pos="5448"/>
        <p:guide pos="480"/>
        <p:guide pos="336"/>
        <p:guide orient="horz" pos="348"/>
        <p:guide orient="horz" pos="2169"/>
        <p:guide orient="horz" pos="3239"/>
        <p:guide orient="horz" pos="606"/>
        <p:guide orient="horz" pos="2772"/>
        <p:guide pos="5759"/>
        <p:guide pos="5700"/>
        <p:guide pos="2944"/>
        <p:guide pos="4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2766" y="-120"/>
      </p:cViewPr>
      <p:guideLst>
        <p:guide orient="horz" pos="2909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tish Gunjal" userId="S::satish.gunjal@lntinfotech.com::76015a15-6274-4db9-a83b-1c384c135c18" providerId="AD" clId="Web-{D650C287-9724-42F1-B404-848328607B98}"/>
    <pc:docChg chg="modSld">
      <pc:chgData name="Satish Gunjal" userId="S::satish.gunjal@lntinfotech.com::76015a15-6274-4db9-a83b-1c384c135c18" providerId="AD" clId="Web-{D650C287-9724-42F1-B404-848328607B98}" dt="2021-03-12T09:51:39.037" v="4" actId="1076"/>
      <pc:docMkLst>
        <pc:docMk/>
      </pc:docMkLst>
      <pc:sldChg chg="modSp">
        <pc:chgData name="Satish Gunjal" userId="S::satish.gunjal@lntinfotech.com::76015a15-6274-4db9-a83b-1c384c135c18" providerId="AD" clId="Web-{D650C287-9724-42F1-B404-848328607B98}" dt="2021-03-12T09:51:39.037" v="4" actId="1076"/>
        <pc:sldMkLst>
          <pc:docMk/>
          <pc:sldMk cId="2417813327" sldId="451"/>
        </pc:sldMkLst>
        <pc:spChg chg="mod">
          <ac:chgData name="Satish Gunjal" userId="S::satish.gunjal@lntinfotech.com::76015a15-6274-4db9-a83b-1c384c135c18" providerId="AD" clId="Web-{D650C287-9724-42F1-B404-848328607B98}" dt="2021-03-12T09:51:39.037" v="4" actId="1076"/>
          <ac:spMkLst>
            <pc:docMk/>
            <pc:sldMk cId="2417813327" sldId="451"/>
            <ac:spMk id="28" creationId="{2DA2F760-72BF-4E29-ADE1-0A8CC03CF0BF}"/>
          </ac:spMkLst>
        </pc:spChg>
        <pc:cxnChg chg="mod">
          <ac:chgData name="Satish Gunjal" userId="S::satish.gunjal@lntinfotech.com::76015a15-6274-4db9-a83b-1c384c135c18" providerId="AD" clId="Web-{D650C287-9724-42F1-B404-848328607B98}" dt="2021-03-12T09:51:39.037" v="4" actId="1076"/>
          <ac:cxnSpMkLst>
            <pc:docMk/>
            <pc:sldMk cId="2417813327" sldId="451"/>
            <ac:cxnSpMk id="51" creationId="{5B0C1B56-1A14-435C-9A82-7819D855BCBB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3047645" cy="454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35" tIns="43666" rIns="87335" bIns="43666" numCol="1" anchor="t" anchorCtr="0" compatLnSpc="1">
            <a:prstTxWarp prst="textNoShape">
              <a:avLst/>
            </a:prstTxWarp>
          </a:bodyPr>
          <a:lstStyle>
            <a:lvl1pPr algn="l" defTabSz="873824">
              <a:defRPr sz="110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62756" y="2"/>
            <a:ext cx="3047644" cy="454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35" tIns="43666" rIns="87335" bIns="43666" numCol="1" anchor="t" anchorCtr="0" compatLnSpc="1">
            <a:prstTxWarp prst="textNoShape">
              <a:avLst/>
            </a:prstTxWarp>
          </a:bodyPr>
          <a:lstStyle>
            <a:lvl1pPr algn="r" defTabSz="873824">
              <a:defRPr sz="110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781867"/>
            <a:ext cx="3047645" cy="454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35" tIns="43666" rIns="87335" bIns="43666" numCol="1" anchor="b" anchorCtr="0" compatLnSpc="1">
            <a:prstTxWarp prst="textNoShape">
              <a:avLst/>
            </a:prstTxWarp>
          </a:bodyPr>
          <a:lstStyle>
            <a:lvl1pPr algn="l" defTabSz="873824">
              <a:defRPr sz="110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17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62756" y="8781867"/>
            <a:ext cx="3047644" cy="454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35" tIns="43666" rIns="87335" bIns="43666" numCol="1" anchor="b" anchorCtr="0" compatLnSpc="1">
            <a:prstTxWarp prst="textNoShape">
              <a:avLst/>
            </a:prstTxWarp>
          </a:bodyPr>
          <a:lstStyle>
            <a:lvl1pPr algn="r" defTabSz="873824">
              <a:defRPr sz="1100" smtClean="0"/>
            </a:lvl1pPr>
          </a:lstStyle>
          <a:p>
            <a:pPr>
              <a:defRPr/>
            </a:pPr>
            <a:fld id="{DA6835A3-9366-4C20-B248-0AC9C46AA6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507233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0"/>
            <a:ext cx="3036205" cy="460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8989" tIns="44493" rIns="88989" bIns="44493" numCol="1" anchor="t" anchorCtr="0" compatLnSpc="1">
            <a:prstTxWarp prst="textNoShape">
              <a:avLst/>
            </a:prstTxWarp>
          </a:bodyPr>
          <a:lstStyle>
            <a:lvl1pPr algn="l" defTabSz="889540">
              <a:defRPr sz="110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2563" y="0"/>
            <a:ext cx="3036205" cy="460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8989" tIns="44493" rIns="88989" bIns="44493" numCol="1" anchor="t" anchorCtr="0" compatLnSpc="1">
            <a:prstTxWarp prst="textNoShape">
              <a:avLst/>
            </a:prstTxWarp>
          </a:bodyPr>
          <a:lstStyle>
            <a:lvl1pPr algn="r" defTabSz="889540">
              <a:defRPr sz="110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560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7038" y="693738"/>
            <a:ext cx="6156325" cy="3463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7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9407" y="4387248"/>
            <a:ext cx="5611588" cy="4154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8989" tIns="44493" rIns="88989" bIns="4449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97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8775968"/>
            <a:ext cx="3036205" cy="458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8989" tIns="44493" rIns="88989" bIns="44493" numCol="1" anchor="b" anchorCtr="0" compatLnSpc="1">
            <a:prstTxWarp prst="textNoShape">
              <a:avLst/>
            </a:prstTxWarp>
          </a:bodyPr>
          <a:lstStyle>
            <a:lvl1pPr algn="l" defTabSz="889540">
              <a:defRPr sz="110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97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2563" y="8775968"/>
            <a:ext cx="3036205" cy="458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8989" tIns="44493" rIns="88989" bIns="44493" numCol="1" anchor="b" anchorCtr="0" compatLnSpc="1">
            <a:prstTxWarp prst="textNoShape">
              <a:avLst/>
            </a:prstTxWarp>
          </a:bodyPr>
          <a:lstStyle>
            <a:lvl1pPr algn="r" defTabSz="889540">
              <a:defRPr sz="1100" smtClean="0"/>
            </a:lvl1pPr>
          </a:lstStyle>
          <a:p>
            <a:pPr>
              <a:defRPr/>
            </a:pPr>
            <a:fld id="{C0C428FF-E08F-45DE-BAC9-258D4444EC1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6449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ヒラギノ角ゴ Pro W3" pitchFamily="124" charset="-128"/>
        <a:cs typeface="Geneva" pitchFamily="34" charset="0"/>
      </a:defRPr>
    </a:lvl1pPr>
    <a:lvl2pPr marL="389626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ヒラギノ角ゴ Pro W3" pitchFamily="124" charset="-128"/>
        <a:cs typeface="Geneva" pitchFamily="34" charset="0"/>
      </a:defRPr>
    </a:lvl2pPr>
    <a:lvl3pPr marL="779252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ヒラギノ角ゴ Pro W3" pitchFamily="124" charset="-128"/>
        <a:cs typeface="Geneva" pitchFamily="34" charset="0"/>
      </a:defRPr>
    </a:lvl3pPr>
    <a:lvl4pPr marL="1168878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ヒラギノ角ゴ Pro W3" pitchFamily="124" charset="-128"/>
        <a:cs typeface="Geneva" pitchFamily="34" charset="0"/>
      </a:defRPr>
    </a:lvl4pPr>
    <a:lvl5pPr marL="1558503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ヒラギノ角ゴ Pro W3" pitchFamily="124" charset="-128"/>
        <a:cs typeface="Geneva" pitchFamily="34" charset="0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0C428FF-E08F-45DE-BAC9-258D4444EC10}" type="slidenum">
              <a:rPr lang="en-US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44374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62" name="Picture 14" descr="C:\Users\10630824\Desktop\Microot template\poly.e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332" y="456328"/>
            <a:ext cx="9153331" cy="467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8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348105" y="3230193"/>
            <a:ext cx="5556738" cy="221456"/>
          </a:xfrm>
          <a:ln>
            <a:noFill/>
          </a:ln>
        </p:spPr>
        <p:txBody>
          <a:bodyPr anchor="ctr" anchorCtr="0"/>
          <a:lstStyle>
            <a:lvl1pPr marL="0" indent="0">
              <a:buFont typeface="Symbol" pitchFamily="18" charset="2"/>
              <a:buNone/>
              <a:defRPr sz="1600" b="0" i="0">
                <a:solidFill>
                  <a:srgbClr val="ED8B00"/>
                </a:solidFill>
                <a:latin typeface="Calibri Light"/>
                <a:cs typeface="Calibri Light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1" name="Rectangle 8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348105" y="2269550"/>
            <a:ext cx="5561624" cy="430887"/>
          </a:xfrm>
          <a:noFill/>
          <a:ln w="9525">
            <a:noFill/>
            <a:miter lim="800000"/>
            <a:headEnd/>
            <a:tailEnd/>
          </a:ln>
        </p:spPr>
        <p:txBody>
          <a:bodyPr anchor="t"/>
          <a:lstStyle>
            <a:lvl1pPr>
              <a:defRPr sz="2700" b="0" i="0">
                <a:solidFill>
                  <a:srgbClr val="2C2D8B"/>
                </a:solidFill>
                <a:latin typeface="Calibri Light"/>
                <a:cs typeface="Calibri Light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57650" y="4561890"/>
            <a:ext cx="1369306" cy="254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3247" y="267475"/>
            <a:ext cx="689056" cy="51062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334" y="267475"/>
            <a:ext cx="864729" cy="629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7057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2" y="38876"/>
            <a:ext cx="92367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42"/>
            <a:endParaRPr lang="x-none" sz="459" dirty="0">
              <a:solidFill>
                <a:srgbClr val="808080"/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9480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01171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22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17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2"/>
          <p:cNvSpPr/>
          <p:nvPr userDrawn="1"/>
        </p:nvSpPr>
        <p:spPr bwMode="ltGray">
          <a:xfrm>
            <a:off x="-8172" y="1308100"/>
            <a:ext cx="6530305" cy="2184399"/>
          </a:xfrm>
          <a:custGeom>
            <a:avLst/>
            <a:gdLst>
              <a:gd name="connsiteX0" fmla="*/ 0 w 6530305"/>
              <a:gd name="connsiteY0" fmla="*/ 0 h 2184399"/>
              <a:gd name="connsiteX1" fmla="*/ 6530305 w 6530305"/>
              <a:gd name="connsiteY1" fmla="*/ 0 h 2184399"/>
              <a:gd name="connsiteX2" fmla="*/ 6530305 w 6530305"/>
              <a:gd name="connsiteY2" fmla="*/ 2184399 h 2184399"/>
              <a:gd name="connsiteX3" fmla="*/ 0 w 6530305"/>
              <a:gd name="connsiteY3" fmla="*/ 2184399 h 2184399"/>
              <a:gd name="connsiteX4" fmla="*/ 0 w 6530305"/>
              <a:gd name="connsiteY4" fmla="*/ 0 h 2184399"/>
              <a:gd name="connsiteX0" fmla="*/ 0 w 6530305"/>
              <a:gd name="connsiteY0" fmla="*/ 0 h 2184399"/>
              <a:gd name="connsiteX1" fmla="*/ 5849585 w 6530305"/>
              <a:gd name="connsiteY1" fmla="*/ 0 h 2184399"/>
              <a:gd name="connsiteX2" fmla="*/ 6530305 w 6530305"/>
              <a:gd name="connsiteY2" fmla="*/ 2184399 h 2184399"/>
              <a:gd name="connsiteX3" fmla="*/ 0 w 6530305"/>
              <a:gd name="connsiteY3" fmla="*/ 2184399 h 2184399"/>
              <a:gd name="connsiteX4" fmla="*/ 0 w 6530305"/>
              <a:gd name="connsiteY4" fmla="*/ 0 h 218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30305" h="2184399">
                <a:moveTo>
                  <a:pt x="0" y="0"/>
                </a:moveTo>
                <a:lnTo>
                  <a:pt x="5849585" y="0"/>
                </a:lnTo>
                <a:lnTo>
                  <a:pt x="6530305" y="2184399"/>
                </a:lnTo>
                <a:lnTo>
                  <a:pt x="0" y="2184399"/>
                </a:lnTo>
                <a:lnTo>
                  <a:pt x="0" y="0"/>
                </a:lnTo>
                <a:close/>
              </a:path>
            </a:pathLst>
          </a:custGeom>
          <a:solidFill>
            <a:srgbClr val="124079">
              <a:alpha val="86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IN" sz="1400" dirty="0">
              <a:solidFill>
                <a:srgbClr val="000000"/>
              </a:solidFill>
              <a:latin typeface="Calibri" panose="020F0502020204030204" pitchFamily="34" charset="0"/>
              <a:ea typeface="+mn-ea"/>
              <a:sym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5003800" y="4705350"/>
            <a:ext cx="413850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90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 Light"/>
                <a:sym typeface="Calibri" panose="020F0502020204030204" pitchFamily="34" charset="0"/>
              </a:rPr>
              <a:t>©Larsen &amp; Toubro Infotech Ltd. Privileged and Confidential</a:t>
            </a:r>
          </a:p>
        </p:txBody>
      </p:sp>
      <p:pic>
        <p:nvPicPr>
          <p:cNvPr id="13" name="Picture 12" descr="LNT InfotechWhite.ai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400" y="57150"/>
            <a:ext cx="1304647" cy="745512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381977" y="4705350"/>
            <a:ext cx="413850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90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 Light"/>
                <a:sym typeface="Calibri" panose="020F0502020204030204" pitchFamily="34" charset="0"/>
              </a:rPr>
              <a:t>www.LnTInfotech.com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8696930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 lang="x-none"/>
            </a:pPr>
            <a:endParaRPr sz="816" dirty="0">
              <a:solidFill>
                <a:srgbClr val="482A06"/>
              </a:solidFill>
              <a:latin typeface="Calibri"/>
              <a:ea typeface="+mn-ea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81977" y="1962150"/>
            <a:ext cx="5413033" cy="430887"/>
          </a:xfrm>
          <a:prstGeom prst="rect">
            <a:avLst/>
          </a:prstGeom>
        </p:spPr>
        <p:txBody>
          <a:bodyPr anchor="b"/>
          <a:lstStyle>
            <a:lvl1pPr>
              <a:defRPr lang="x-none" sz="28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81977" y="2661795"/>
            <a:ext cx="5413033" cy="21544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 lang="x-none" sz="14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81977" y="3145997"/>
            <a:ext cx="541303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hangingPunct="1">
              <a:defRPr lang="x-none"/>
            </a:pPr>
            <a:r>
              <a:rPr sz="1400" dirty="0">
                <a:solidFill>
                  <a:srgbClr val="FFFFFF"/>
                </a:solidFill>
                <a:latin typeface="Calibri"/>
                <a:ea typeface="+mn-ea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0538801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2" y="38876"/>
            <a:ext cx="92367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42"/>
            <a:endParaRPr lang="x-none" sz="459" dirty="0">
              <a:solidFill>
                <a:srgbClr val="808080"/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33129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27256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FD1A36-F986-4862-9408-773EE8F8C0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6636BAE-7F79-4826-8305-F071F54BEB0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210601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189" y="940222"/>
            <a:ext cx="8615227" cy="372508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878" y="240427"/>
            <a:ext cx="8024283" cy="384721"/>
          </a:xfrm>
          <a:noFill/>
          <a:ln>
            <a:noFill/>
          </a:ln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2" descr="C:\Users\10630824\Desktop\Microot template\LTI logo (2)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604" y="4755049"/>
            <a:ext cx="426695" cy="249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C:\Users\10630824\Desktop\Microot template\corners (3)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6377" y="3907747"/>
            <a:ext cx="1430176" cy="1649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8499435" y="4824116"/>
            <a:ext cx="3647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5957C0-C9FD-924F-A662-3B71DAE40C56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/>
                <a:cs typeface="Calibri Light"/>
              </a:rPr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/>
              <a:cs typeface="Calibri Light"/>
            </a:endParaRPr>
          </a:p>
        </p:txBody>
      </p:sp>
      <p:pic>
        <p:nvPicPr>
          <p:cNvPr id="8" name="Picture 4" descr="C:\Users\10630824\Desktop\Microot template\corners (2)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25392" y="-30236"/>
            <a:ext cx="688705" cy="699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ontent Placeholder 11"/>
          <p:cNvSpPr>
            <a:spLocks noGrp="1"/>
          </p:cNvSpPr>
          <p:nvPr>
            <p:ph sz="quarter" idx="10" hasCustomPrompt="1"/>
          </p:nvPr>
        </p:nvSpPr>
        <p:spPr>
          <a:xfrm>
            <a:off x="343291" y="681005"/>
            <a:ext cx="7964402" cy="188523"/>
          </a:xfrm>
        </p:spPr>
        <p:txBody>
          <a:bodyPr/>
          <a:lstStyle>
            <a:lvl1pPr marL="0" indent="0">
              <a:buNone/>
              <a:defRPr sz="1200" b="0" baseline="0">
                <a:solidFill>
                  <a:srgbClr val="ED8B00"/>
                </a:solidFill>
              </a:defRPr>
            </a:lvl1pPr>
          </a:lstStyle>
          <a:p>
            <a:pPr lvl="0"/>
            <a:r>
              <a:rPr lang="en-US" dirty="0"/>
              <a:t>Secondary title place hold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086252" y="4849624"/>
            <a:ext cx="295909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rgbClr val="7C7C7C"/>
                </a:solidFill>
                <a:latin typeface="Calibri Light"/>
                <a:cs typeface="Calibri Light"/>
              </a:rPr>
              <a:t>©Larsen &amp; Toubro Infotech Ltd. Privileged and Confidential</a:t>
            </a:r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1678075" y="588396"/>
            <a:ext cx="7385538" cy="0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1161092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0677" y="971550"/>
            <a:ext cx="4290646" cy="36576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2677" y="971550"/>
            <a:ext cx="4290646" cy="36576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3" descr="C:\Users\10630824\Desktop\Microot template\corners (3)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6377" y="3907747"/>
            <a:ext cx="1430176" cy="1649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8499435" y="4824116"/>
            <a:ext cx="3647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5957C0-C9FD-924F-A662-3B71DAE40C56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/>
                <a:cs typeface="Calibri Light"/>
              </a:rPr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/>
              <a:cs typeface="Calibri Light"/>
            </a:endParaRPr>
          </a:p>
        </p:txBody>
      </p:sp>
      <p:pic>
        <p:nvPicPr>
          <p:cNvPr id="9" name="Picture 4" descr="C:\Users\10630824\Desktop\Microot template\corners (2)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25392" y="-30236"/>
            <a:ext cx="688705" cy="699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Connector 10"/>
          <p:cNvCxnSpPr/>
          <p:nvPr userDrawn="1"/>
        </p:nvCxnSpPr>
        <p:spPr bwMode="auto">
          <a:xfrm>
            <a:off x="958583" y="467819"/>
            <a:ext cx="8078875" cy="0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7816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62" name="Picture 14" descr="C:\Users\10630824\Desktop\Microot template\poly.e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332" y="456328"/>
            <a:ext cx="9153331" cy="467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8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348105" y="2269550"/>
            <a:ext cx="5561624" cy="430887"/>
          </a:xfrm>
          <a:noFill/>
          <a:ln w="9525">
            <a:noFill/>
            <a:miter lim="800000"/>
            <a:headEnd/>
            <a:tailEnd/>
          </a:ln>
        </p:spPr>
        <p:txBody>
          <a:bodyPr anchor="t"/>
          <a:lstStyle>
            <a:lvl1pPr>
              <a:defRPr sz="2700" b="0" i="0">
                <a:solidFill>
                  <a:srgbClr val="2C2D8B"/>
                </a:solidFill>
                <a:latin typeface="Calibri Light"/>
                <a:cs typeface="Calibri Light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15320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3" descr="C:\Users\10630824\Desktop\Microot template\corners (3)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6377" y="3907747"/>
            <a:ext cx="1430176" cy="1649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8483655" y="4824116"/>
            <a:ext cx="3962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5957C0-C9FD-924F-A662-3B71DAE40C56}" type="slidenum">
              <a:rPr kumimoji="0" lang="uk-UA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/>
                <a:cs typeface="Calibri Light"/>
              </a:rPr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0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/>
              <a:cs typeface="Calibri Light"/>
            </a:endParaRPr>
          </a:p>
        </p:txBody>
      </p:sp>
      <p:pic>
        <p:nvPicPr>
          <p:cNvPr id="7" name="Picture 4" descr="C:\Users\10630824\Desktop\Microot template\corners (2)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25392" y="-30236"/>
            <a:ext cx="688705" cy="699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3086252" y="4849624"/>
            <a:ext cx="295909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rgbClr val="7C7C7C"/>
                </a:solidFill>
                <a:latin typeface="Calibri Light"/>
                <a:cs typeface="Calibri Light"/>
              </a:rPr>
              <a:t>©Larsen &amp; Toubro Infotech Ltd. Privileged and Confidential</a:t>
            </a:r>
          </a:p>
        </p:txBody>
      </p:sp>
      <p:pic>
        <p:nvPicPr>
          <p:cNvPr id="9" name="Picture 2" descr="C:\Users\10630824\Desktop\Microot template\LTI logo (2)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604" y="4755049"/>
            <a:ext cx="426695" cy="249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Connector 9"/>
          <p:cNvCxnSpPr/>
          <p:nvPr userDrawn="1"/>
        </p:nvCxnSpPr>
        <p:spPr bwMode="auto">
          <a:xfrm>
            <a:off x="1678075" y="548204"/>
            <a:ext cx="7385538" cy="0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623433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14E39C5E-3938-484F-9F2C-43A53F2F2C23}" type="datetimeFigureOut">
              <a:rPr lang="en-US" smtClean="0"/>
              <a:pPr/>
              <a:t>3/15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2F87D1DA-C60F-764E-8590-C8E0B173BB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35627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62" name="Picture 14" descr="C:\Users\10630824\Desktop\Microot template\poly.e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332" y="456328"/>
            <a:ext cx="9153331" cy="467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8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348105" y="3230193"/>
            <a:ext cx="5556738" cy="221456"/>
          </a:xfrm>
          <a:ln>
            <a:noFill/>
          </a:ln>
        </p:spPr>
        <p:txBody>
          <a:bodyPr anchor="ctr" anchorCtr="0"/>
          <a:lstStyle>
            <a:lvl1pPr marL="0" indent="0">
              <a:buFont typeface="Symbol" pitchFamily="18" charset="2"/>
              <a:buNone/>
              <a:defRPr sz="1600" b="0" i="0">
                <a:solidFill>
                  <a:srgbClr val="ED8B00"/>
                </a:solidFill>
                <a:latin typeface="Calibri Light"/>
                <a:cs typeface="Calibri Light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1" name="Rectangle 8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348105" y="2269550"/>
            <a:ext cx="5561624" cy="430887"/>
          </a:xfrm>
          <a:noFill/>
          <a:ln w="9525">
            <a:noFill/>
            <a:miter lim="800000"/>
            <a:headEnd/>
            <a:tailEnd/>
          </a:ln>
        </p:spPr>
        <p:txBody>
          <a:bodyPr anchor="t"/>
          <a:lstStyle>
            <a:lvl1pPr>
              <a:defRPr sz="2700" b="0" i="0">
                <a:solidFill>
                  <a:srgbClr val="2C2D8B"/>
                </a:solidFill>
                <a:latin typeface="Calibri Light"/>
                <a:cs typeface="Calibri Light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57650" y="4561890"/>
            <a:ext cx="1369306" cy="254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3247" y="267475"/>
            <a:ext cx="689056" cy="51062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334" y="267475"/>
            <a:ext cx="864729" cy="629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076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189" y="940222"/>
            <a:ext cx="8615227" cy="372508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878" y="240427"/>
            <a:ext cx="8024283" cy="384721"/>
          </a:xfrm>
          <a:noFill/>
          <a:ln>
            <a:noFill/>
          </a:ln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2" descr="C:\Users\10630824\Desktop\Microot template\LTI logo (2)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604" y="4755049"/>
            <a:ext cx="426695" cy="249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C:\Users\10630824\Desktop\Microot template\corners (3)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6377" y="3907747"/>
            <a:ext cx="1430176" cy="1649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8499435" y="4824116"/>
            <a:ext cx="3647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5957C0-C9FD-924F-A662-3B71DAE40C56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/>
                <a:cs typeface="Calibri Light"/>
              </a:rPr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/>
              <a:cs typeface="Calibri Light"/>
            </a:endParaRPr>
          </a:p>
        </p:txBody>
      </p:sp>
      <p:pic>
        <p:nvPicPr>
          <p:cNvPr id="8" name="Picture 4" descr="C:\Users\10630824\Desktop\Microot template\corners (2)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25392" y="-30236"/>
            <a:ext cx="688705" cy="699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ontent Placeholder 11"/>
          <p:cNvSpPr>
            <a:spLocks noGrp="1"/>
          </p:cNvSpPr>
          <p:nvPr>
            <p:ph sz="quarter" idx="10" hasCustomPrompt="1"/>
          </p:nvPr>
        </p:nvSpPr>
        <p:spPr>
          <a:xfrm>
            <a:off x="343291" y="681005"/>
            <a:ext cx="7964402" cy="188523"/>
          </a:xfrm>
        </p:spPr>
        <p:txBody>
          <a:bodyPr/>
          <a:lstStyle>
            <a:lvl1pPr marL="0" indent="0">
              <a:buNone/>
              <a:defRPr sz="1200" b="0" baseline="0">
                <a:solidFill>
                  <a:srgbClr val="ED8B00"/>
                </a:solidFill>
              </a:defRPr>
            </a:lvl1pPr>
          </a:lstStyle>
          <a:p>
            <a:pPr lvl="0"/>
            <a:r>
              <a:rPr lang="en-US" dirty="0"/>
              <a:t>Secondary title place hold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086252" y="4849624"/>
            <a:ext cx="295909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rgbClr val="7C7C7C"/>
                </a:solidFill>
                <a:latin typeface="Calibri Light"/>
                <a:cs typeface="Calibri Light"/>
              </a:rPr>
              <a:t>©Larsen &amp; Toubro Infotech Ltd. Privileged and Confidential</a:t>
            </a:r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1678075" y="588396"/>
            <a:ext cx="7385538" cy="0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738817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25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17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2"/>
          <p:cNvSpPr/>
          <p:nvPr userDrawn="1"/>
        </p:nvSpPr>
        <p:spPr bwMode="ltGray">
          <a:xfrm>
            <a:off x="-8172" y="1308100"/>
            <a:ext cx="6530305" cy="2184399"/>
          </a:xfrm>
          <a:custGeom>
            <a:avLst/>
            <a:gdLst>
              <a:gd name="connsiteX0" fmla="*/ 0 w 6530305"/>
              <a:gd name="connsiteY0" fmla="*/ 0 h 2184399"/>
              <a:gd name="connsiteX1" fmla="*/ 6530305 w 6530305"/>
              <a:gd name="connsiteY1" fmla="*/ 0 h 2184399"/>
              <a:gd name="connsiteX2" fmla="*/ 6530305 w 6530305"/>
              <a:gd name="connsiteY2" fmla="*/ 2184399 h 2184399"/>
              <a:gd name="connsiteX3" fmla="*/ 0 w 6530305"/>
              <a:gd name="connsiteY3" fmla="*/ 2184399 h 2184399"/>
              <a:gd name="connsiteX4" fmla="*/ 0 w 6530305"/>
              <a:gd name="connsiteY4" fmla="*/ 0 h 2184399"/>
              <a:gd name="connsiteX0" fmla="*/ 0 w 6530305"/>
              <a:gd name="connsiteY0" fmla="*/ 0 h 2184399"/>
              <a:gd name="connsiteX1" fmla="*/ 5849585 w 6530305"/>
              <a:gd name="connsiteY1" fmla="*/ 0 h 2184399"/>
              <a:gd name="connsiteX2" fmla="*/ 6530305 w 6530305"/>
              <a:gd name="connsiteY2" fmla="*/ 2184399 h 2184399"/>
              <a:gd name="connsiteX3" fmla="*/ 0 w 6530305"/>
              <a:gd name="connsiteY3" fmla="*/ 2184399 h 2184399"/>
              <a:gd name="connsiteX4" fmla="*/ 0 w 6530305"/>
              <a:gd name="connsiteY4" fmla="*/ 0 h 218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30305" h="2184399">
                <a:moveTo>
                  <a:pt x="0" y="0"/>
                </a:moveTo>
                <a:lnTo>
                  <a:pt x="5849585" y="0"/>
                </a:lnTo>
                <a:lnTo>
                  <a:pt x="6530305" y="2184399"/>
                </a:lnTo>
                <a:lnTo>
                  <a:pt x="0" y="2184399"/>
                </a:lnTo>
                <a:lnTo>
                  <a:pt x="0" y="0"/>
                </a:lnTo>
                <a:close/>
              </a:path>
            </a:pathLst>
          </a:custGeom>
          <a:solidFill>
            <a:srgbClr val="124079">
              <a:alpha val="86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IN" sz="1400" dirty="0">
              <a:solidFill>
                <a:srgbClr val="000000"/>
              </a:solidFill>
              <a:latin typeface="Calibri" panose="020F0502020204030204" pitchFamily="34" charset="0"/>
              <a:ea typeface="+mn-ea"/>
              <a:sym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5003800" y="4705350"/>
            <a:ext cx="413850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90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 Light"/>
                <a:sym typeface="Calibri" panose="020F0502020204030204" pitchFamily="34" charset="0"/>
              </a:rPr>
              <a:t>©Larsen &amp; Toubro Infotech Ltd. Privileged and Confidential</a:t>
            </a:r>
          </a:p>
        </p:txBody>
      </p:sp>
      <p:pic>
        <p:nvPicPr>
          <p:cNvPr id="13" name="Picture 12" descr="LNT InfotechWhite.ai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400" y="57150"/>
            <a:ext cx="1304647" cy="745512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381977" y="4705350"/>
            <a:ext cx="413850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90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 Light"/>
                <a:sym typeface="Calibri" panose="020F0502020204030204" pitchFamily="34" charset="0"/>
              </a:rPr>
              <a:t>www.LnTInfotech.com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8696930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 lang="x-none"/>
            </a:pPr>
            <a:endParaRPr sz="816" dirty="0">
              <a:solidFill>
                <a:srgbClr val="482A06"/>
              </a:solidFill>
              <a:latin typeface="Calibri"/>
              <a:ea typeface="+mn-ea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81977" y="1962150"/>
            <a:ext cx="5413033" cy="430887"/>
          </a:xfrm>
          <a:prstGeom prst="rect">
            <a:avLst/>
          </a:prstGeom>
        </p:spPr>
        <p:txBody>
          <a:bodyPr anchor="b"/>
          <a:lstStyle>
            <a:lvl1pPr>
              <a:defRPr lang="x-none" sz="28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81977" y="2661795"/>
            <a:ext cx="5413033" cy="21544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 lang="x-none" sz="14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81977" y="3145997"/>
            <a:ext cx="541303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hangingPunct="1">
              <a:defRPr lang="x-none"/>
            </a:pPr>
            <a:r>
              <a:rPr sz="1400" dirty="0">
                <a:solidFill>
                  <a:srgbClr val="FFFFFF"/>
                </a:solidFill>
                <a:latin typeface="Calibri"/>
                <a:ea typeface="+mn-ea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742075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8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0.png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image" Target="../media/image9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3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35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24" Type="http://schemas.openxmlformats.org/officeDocument/2006/relationships/image" Target="../media/image10.png"/><Relationship Id="rId5" Type="http://schemas.openxmlformats.org/officeDocument/2006/relationships/tags" Target="../tags/tag19.xml"/><Relationship Id="rId15" Type="http://schemas.openxmlformats.org/officeDocument/2006/relationships/tags" Target="../tags/tag29.xml"/><Relationship Id="rId23" Type="http://schemas.openxmlformats.org/officeDocument/2006/relationships/image" Target="../media/image9.emf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4" Type="http://schemas.openxmlformats.org/officeDocument/2006/relationships/theme" Target="../theme/theme4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oleObject" Target="../embeddings/oleObject3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58189" y="731070"/>
            <a:ext cx="8615227" cy="393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29" name="Rectangle 83"/>
          <p:cNvSpPr>
            <a:spLocks noGrp="1" noChangeArrowheads="1"/>
          </p:cNvSpPr>
          <p:nvPr>
            <p:ph type="title"/>
          </p:nvPr>
        </p:nvSpPr>
        <p:spPr bwMode="gray">
          <a:xfrm>
            <a:off x="269878" y="119851"/>
            <a:ext cx="8594260" cy="30777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086252" y="4849624"/>
            <a:ext cx="295909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rgbClr val="7C7C7C"/>
                </a:solidFill>
                <a:latin typeface="Calibri Light"/>
                <a:cs typeface="Calibri Light"/>
              </a:rPr>
              <a:t>©Larsen &amp; Toubro Infotech Ltd. Privileged and Confidential</a:t>
            </a:r>
          </a:p>
        </p:txBody>
      </p:sp>
      <p:pic>
        <p:nvPicPr>
          <p:cNvPr id="2" name="Picture 2" descr="C:\Users\10630824\Desktop\Microot template\LTI logo (2)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604" y="4755049"/>
            <a:ext cx="426695" cy="249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10630824\Desktop\Microot template\corners (3)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6377" y="3907747"/>
            <a:ext cx="1430176" cy="1649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 userDrawn="1"/>
        </p:nvSpPr>
        <p:spPr>
          <a:xfrm>
            <a:off x="8483655" y="4824116"/>
            <a:ext cx="3962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5957C0-C9FD-924F-A662-3B71DAE40C56}" type="slidenum">
              <a:rPr kumimoji="0" lang="uk-UA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charset="0"/>
                <a:ea typeface="Calibri Light" charset="0"/>
                <a:cs typeface="Calibri Light" charset="0"/>
              </a:rPr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1028" name="Picture 4" descr="C:\Users\10630824\Desktop\Microot template\corners (2)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18304" y="-37324"/>
            <a:ext cx="688705" cy="699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Connector 3"/>
          <p:cNvCxnSpPr/>
          <p:nvPr userDrawn="1"/>
        </p:nvCxnSpPr>
        <p:spPr bwMode="auto">
          <a:xfrm>
            <a:off x="1678075" y="427628"/>
            <a:ext cx="7385538" cy="0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61" r:id="rId2"/>
    <p:sldLayoutId id="2147483663" r:id="rId3"/>
    <p:sldLayoutId id="2147483680" r:id="rId4"/>
    <p:sldLayoutId id="2147483665" r:id="rId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0" i="0" baseline="0">
          <a:solidFill>
            <a:srgbClr val="2C2D8B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5pPr>
      <a:lvl6pPr marL="389626"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6pPr>
      <a:lvl7pPr marL="779252"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7pPr>
      <a:lvl8pPr marL="1168878"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8pPr>
      <a:lvl9pPr marL="1558503"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9pPr>
    </p:titleStyle>
    <p:bodyStyle>
      <a:lvl1pPr marL="146110" indent="-146110" algn="l" defTabSz="1566621" rtl="0" eaLnBrk="0" fontAlgn="base" hangingPunct="0">
        <a:spcBef>
          <a:spcPct val="75000"/>
        </a:spcBef>
        <a:spcAft>
          <a:spcPct val="0"/>
        </a:spcAft>
        <a:buClrTx/>
        <a:buFont typeface="Wingdings" charset="2"/>
        <a:buChar char="§"/>
        <a:defRPr sz="1600" b="0" i="0">
          <a:solidFill>
            <a:srgbClr val="000000"/>
          </a:solidFill>
          <a:latin typeface="Calibri Light"/>
          <a:ea typeface="+mn-ea"/>
          <a:cs typeface="Calibri Light"/>
        </a:defRPr>
      </a:lvl1pPr>
      <a:lvl2pPr marL="293573" indent="-146110" algn="l" defTabSz="1566621" rtl="0" eaLnBrk="0" fontAlgn="base" hangingPunct="0">
        <a:spcBef>
          <a:spcPct val="25000"/>
        </a:spcBef>
        <a:spcAft>
          <a:spcPct val="0"/>
        </a:spcAft>
        <a:buClrTx/>
        <a:buSzPct val="80000"/>
        <a:buFont typeface="Wingdings" charset="2"/>
        <a:buChar char="§"/>
        <a:defRPr sz="1600" b="0" i="0">
          <a:solidFill>
            <a:srgbClr val="000000"/>
          </a:solidFill>
          <a:latin typeface="Calibri Light"/>
          <a:ea typeface="+mn-ea"/>
          <a:cs typeface="Calibri Light"/>
        </a:defRPr>
      </a:lvl2pPr>
      <a:lvl3pPr marL="441035" indent="-146110" algn="l" defTabSz="1566621" rtl="0" eaLnBrk="0" fontAlgn="base" hangingPunct="0">
        <a:spcBef>
          <a:spcPct val="25000"/>
        </a:spcBef>
        <a:spcAft>
          <a:spcPct val="0"/>
        </a:spcAft>
        <a:buClrTx/>
        <a:buSzPct val="70000"/>
        <a:buFont typeface="Wingdings" charset="2"/>
        <a:buChar char="§"/>
        <a:defRPr sz="1600" b="0" i="0">
          <a:solidFill>
            <a:srgbClr val="000000"/>
          </a:solidFill>
          <a:latin typeface="Calibri Light"/>
          <a:ea typeface="+mn-ea"/>
          <a:cs typeface="Calibri Light"/>
        </a:defRPr>
      </a:lvl3pPr>
      <a:lvl4pPr marL="584439" indent="-142052" algn="l" defTabSz="1566621" rtl="0" eaLnBrk="0" fontAlgn="base" hangingPunct="0">
        <a:spcBef>
          <a:spcPct val="25000"/>
        </a:spcBef>
        <a:spcAft>
          <a:spcPct val="0"/>
        </a:spcAft>
        <a:buClrTx/>
        <a:buFont typeface="Arial"/>
        <a:buChar char="•"/>
        <a:defRPr sz="1600" b="0" i="0">
          <a:solidFill>
            <a:srgbClr val="000000"/>
          </a:solidFill>
          <a:latin typeface="Calibri Light"/>
          <a:ea typeface="+mn-ea"/>
          <a:cs typeface="Calibri Light"/>
        </a:defRPr>
      </a:lvl4pPr>
      <a:lvl5pPr marL="726490" indent="-140698" algn="l" defTabSz="1566621" rtl="0" eaLnBrk="0" fontAlgn="base" hangingPunct="0">
        <a:spcBef>
          <a:spcPct val="25000"/>
        </a:spcBef>
        <a:spcAft>
          <a:spcPct val="0"/>
        </a:spcAft>
        <a:buClrTx/>
        <a:buFont typeface="Arial"/>
        <a:buChar char="•"/>
        <a:defRPr sz="1600" b="0" i="0">
          <a:solidFill>
            <a:srgbClr val="000000"/>
          </a:solidFill>
          <a:latin typeface="Calibri Light"/>
          <a:ea typeface="+mn-ea"/>
          <a:cs typeface="Calibri Light"/>
        </a:defRPr>
      </a:lvl5pPr>
      <a:lvl6pPr marL="1116116" indent="-140698" algn="l" defTabSz="1566621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200">
          <a:solidFill>
            <a:srgbClr val="53565A"/>
          </a:solidFill>
          <a:latin typeface="+mn-lt"/>
          <a:ea typeface="+mn-ea"/>
          <a:cs typeface="+mn-cs"/>
        </a:defRPr>
      </a:lvl6pPr>
      <a:lvl7pPr marL="1505742" indent="-140698" algn="l" defTabSz="1566621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200">
          <a:solidFill>
            <a:srgbClr val="53565A"/>
          </a:solidFill>
          <a:latin typeface="+mn-lt"/>
          <a:ea typeface="+mn-ea"/>
          <a:cs typeface="+mn-cs"/>
        </a:defRPr>
      </a:lvl7pPr>
      <a:lvl8pPr marL="1895368" indent="-140698" algn="l" defTabSz="1566621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200">
          <a:solidFill>
            <a:srgbClr val="53565A"/>
          </a:solidFill>
          <a:latin typeface="+mn-lt"/>
          <a:ea typeface="+mn-ea"/>
          <a:cs typeface="+mn-cs"/>
        </a:defRPr>
      </a:lvl8pPr>
      <a:lvl9pPr marL="2284994" indent="-140698" algn="l" defTabSz="1566621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20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6114" y="1785786"/>
            <a:ext cx="2191771" cy="1571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436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90" r:id="rId2"/>
    <p:sldLayoutId id="2147483691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5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6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endParaRPr lang="x-none" sz="1632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 flipV="1"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FEFEFE"/>
              </a:gs>
              <a:gs pos="100000">
                <a:srgbClr val="F3F3F3"/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02" name="Rectangle 101"/>
          <p:cNvSpPr/>
          <p:nvPr userDrawn="1"/>
        </p:nvSpPr>
        <p:spPr bwMode="auto">
          <a:xfrm>
            <a:off x="-12591" y="383958"/>
            <a:ext cx="649224" cy="45719"/>
          </a:xfrm>
          <a:prstGeom prst="rect">
            <a:avLst/>
          </a:prstGeom>
          <a:solidFill>
            <a:srgbClr val="FEC32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24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103" name="TextBox 102"/>
          <p:cNvSpPr txBox="1"/>
          <p:nvPr userDrawn="1"/>
        </p:nvSpPr>
        <p:spPr bwMode="auto">
          <a:xfrm>
            <a:off x="518746" y="4907744"/>
            <a:ext cx="295909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dirty="0">
                <a:solidFill>
                  <a:srgbClr val="7C7C7C"/>
                </a:solidFill>
                <a:latin typeface="Calibri" panose="020F0502020204030204" pitchFamily="34" charset="0"/>
                <a:ea typeface="+mn-ea"/>
                <a:cs typeface="Calibri Light"/>
                <a:sym typeface="Calibri" panose="020F0502020204030204" pitchFamily="34" charset="0"/>
              </a:rPr>
              <a:t>©Larsen &amp; Toubro Infotech Ltd. Privileged and Confidential</a:t>
            </a:r>
          </a:p>
        </p:txBody>
      </p:sp>
      <p:pic>
        <p:nvPicPr>
          <p:cNvPr id="104" name="Picture 103" descr="LNT Infotech_K.png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1839" y="4932228"/>
            <a:ext cx="663115" cy="178857"/>
          </a:xfrm>
          <a:prstGeom prst="rect">
            <a:avLst/>
          </a:prstGeom>
        </p:spPr>
      </p:pic>
      <p:sp>
        <p:nvSpPr>
          <p:cNvPr id="105" name="Rectangle 104"/>
          <p:cNvSpPr/>
          <p:nvPr userDrawn="1"/>
        </p:nvSpPr>
        <p:spPr bwMode="auto">
          <a:xfrm>
            <a:off x="105544" y="4861950"/>
            <a:ext cx="36740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457200">
              <a:defRPr/>
            </a:pPr>
            <a:fld id="{9C5957C0-C9FD-924F-A662-3B71DAE40C56}" type="slidenum">
              <a:rPr lang="uk-UA" smtClean="0">
                <a:solidFill>
                  <a:srgbClr val="7C7C7C"/>
                </a:solidFill>
                <a:latin typeface="Calibri" panose="020F0502020204030204" pitchFamily="34" charset="0"/>
                <a:ea typeface="+mn-ea"/>
                <a:cs typeface="Calibri Light"/>
                <a:sym typeface="Calibri" panose="020F0502020204030204" pitchFamily="34" charset="0"/>
              </a:rPr>
              <a:pPr algn="l" defTabSz="457200">
                <a:defRPr/>
              </a:pPr>
              <a:t>‹#›</a:t>
            </a:fld>
            <a:endParaRPr lang="uk-UA" sz="1000" dirty="0">
              <a:solidFill>
                <a:srgbClr val="7C7C7C"/>
              </a:solidFill>
              <a:latin typeface="Calibri" panose="020F0502020204030204" pitchFamily="34" charset="0"/>
              <a:ea typeface="+mn-ea"/>
              <a:cs typeface="Calibri Light"/>
              <a:sym typeface="Calibri" panose="020F0502020204030204" pitchFamily="34" charset="0"/>
            </a:endParaRPr>
          </a:p>
        </p:txBody>
      </p:sp>
      <p:sp>
        <p:nvSpPr>
          <p:cNvPr id="106" name="Rectangle 105"/>
          <p:cNvSpPr/>
          <p:nvPr userDrawn="1"/>
        </p:nvSpPr>
        <p:spPr bwMode="auto">
          <a:xfrm>
            <a:off x="8491329" y="5007339"/>
            <a:ext cx="649224" cy="45719"/>
          </a:xfrm>
          <a:prstGeom prst="rect">
            <a:avLst/>
          </a:prstGeom>
          <a:solidFill>
            <a:srgbClr val="FEC32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24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 flipH="1">
            <a:off x="7993502" y="38876"/>
            <a:ext cx="92367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42"/>
            <a:endParaRPr lang="x-none" sz="459" dirty="0">
              <a:solidFill>
                <a:srgbClr val="808080"/>
              </a:solidFill>
              <a:latin typeface="Calibri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14376" y="251222"/>
            <a:ext cx="820106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714376" y="57977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/>
            <a:r>
              <a:rPr lang="x-none" sz="800" cap="all" dirty="0">
                <a:solidFill>
                  <a:srgbClr val="808080"/>
                </a:solidFill>
                <a:latin typeface="Calibri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714376" y="559548"/>
            <a:ext cx="820106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defRPr lang="x-none"/>
            </a:pPr>
            <a:r>
              <a:rPr sz="1600" dirty="0">
                <a:solidFill>
                  <a:srgbClr val="808080"/>
                </a:solidFill>
                <a:latin typeface="Calibri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auto">
          <a:xfrm>
            <a:off x="205738" y="4568693"/>
            <a:ext cx="8709697" cy="276976"/>
            <a:chOff x="75" y="3913"/>
            <a:chExt cx="5385" cy="2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13"/>
              <a:ext cx="5385" cy="1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 algn="l">
                <a:defRPr lang="x-none"/>
              </a:pPr>
              <a:r>
                <a:rPr sz="800" dirty="0">
                  <a:solidFill>
                    <a:srgbClr val="808080"/>
                  </a:solidFill>
                  <a:latin typeface="Calibri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40"/>
              <a:ext cx="4230" cy="1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17525" indent="-517525" algn="l" defTabSz="913542"/>
              <a:r>
                <a:rPr lang="x-none" sz="800" dirty="0">
                  <a:solidFill>
                    <a:srgbClr val="808080"/>
                  </a:solidFill>
                  <a:latin typeface="Calibri"/>
                  <a:ea typeface="+mn-ea"/>
                </a:rPr>
                <a:t>SOURCE : Source</a:t>
              </a:r>
              <a:endParaRPr lang="en-US" sz="800" dirty="0">
                <a:solidFill>
                  <a:srgbClr val="808080"/>
                </a:solidFill>
                <a:latin typeface="Calibri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778719" y="1961396"/>
            <a:ext cx="4350891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778717" y="1307915"/>
            <a:ext cx="4350891" cy="511436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/>
              <a:r>
                <a:rPr lang="x-none" sz="1600" b="1" dirty="0">
                  <a:solidFill>
                    <a:srgbClr val="000000"/>
                  </a:solidFill>
                  <a:latin typeface="Calibri"/>
                  <a:ea typeface="+mn-ea"/>
                </a:rPr>
                <a:t>Title</a:t>
              </a:r>
            </a:p>
            <a:p>
              <a:pPr algn="l"/>
              <a:r>
                <a:rPr lang="x-none" sz="1600" dirty="0">
                  <a:solidFill>
                    <a:srgbClr val="808080"/>
                  </a:solidFill>
                  <a:latin typeface="Calibri"/>
                  <a:ea typeface="+mn-ea"/>
                </a:rPr>
                <a:t>Unit of measure</a:t>
              </a:r>
            </a:p>
          </p:txBody>
        </p:sp>
      </p:grpSp>
      <p:grpSp>
        <p:nvGrpSpPr>
          <p:cNvPr id="60" name="McKSticker" hidden="1"/>
          <p:cNvGrpSpPr/>
          <p:nvPr userDrawn="1"/>
        </p:nvGrpSpPr>
        <p:grpSpPr bwMode="auto">
          <a:xfrm>
            <a:off x="8442101" y="297883"/>
            <a:ext cx="473335" cy="150811"/>
            <a:chOff x="8267440" y="285750"/>
            <a:chExt cx="473335" cy="150811"/>
          </a:xfrm>
        </p:grpSpPr>
        <p:sp>
          <p:nvSpPr>
            <p:cNvPr id="62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dirty="0">
                  <a:solidFill>
                    <a:srgbClr val="808080"/>
                  </a:solidFill>
                  <a:latin typeface="Calibri"/>
                  <a:ea typeface="+mn-ea"/>
                </a:rPr>
                <a:t>STICKER</a:t>
              </a:r>
            </a:p>
          </p:txBody>
        </p:sp>
        <p:cxnSp>
          <p:nvCxnSpPr>
            <p:cNvPr id="63" name="AutoShape 31"/>
            <p:cNvCxnSpPr>
              <a:cxnSpLocks noChangeShapeType="1"/>
              <a:stCxn id="62" idx="2"/>
              <a:endCxn id="62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4" name="AutoShape 32"/>
            <p:cNvCxnSpPr>
              <a:cxnSpLocks noChangeShapeType="1"/>
              <a:stCxn id="62" idx="4"/>
              <a:endCxn id="62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5" name="LegendBoxes" hidden="1"/>
          <p:cNvGrpSpPr/>
          <p:nvPr userDrawn="1"/>
        </p:nvGrpSpPr>
        <p:grpSpPr bwMode="auto">
          <a:xfrm>
            <a:off x="8151681" y="297883"/>
            <a:ext cx="763755" cy="997467"/>
            <a:chOff x="7835905" y="279400"/>
            <a:chExt cx="763755" cy="997467"/>
          </a:xfrm>
        </p:grpSpPr>
        <p:sp>
          <p:nvSpPr>
            <p:cNvPr id="66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x-none" sz="1224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67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x-none" sz="1224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68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x-none" sz="1224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69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x-none" sz="1224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70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  <p:sp>
          <p:nvSpPr>
            <p:cNvPr id="71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  <p:sp>
          <p:nvSpPr>
            <p:cNvPr id="73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</p:grpSp>
      <p:grpSp>
        <p:nvGrpSpPr>
          <p:cNvPr id="74" name="LegendLines" hidden="1"/>
          <p:cNvGrpSpPr/>
          <p:nvPr userDrawn="1"/>
        </p:nvGrpSpPr>
        <p:grpSpPr bwMode="auto">
          <a:xfrm>
            <a:off x="7843873" y="297883"/>
            <a:ext cx="1071563" cy="730251"/>
            <a:chOff x="7540629" y="279400"/>
            <a:chExt cx="1071563" cy="730251"/>
          </a:xfrm>
        </p:grpSpPr>
        <p:sp>
          <p:nvSpPr>
            <p:cNvPr id="75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/>
              <a:endParaRPr lang="x-none" sz="1224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76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/>
              <a:endParaRPr lang="x-none" sz="1224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77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/>
              <a:endParaRPr lang="x-none" sz="1224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</p:grpSp>
      <p:grpSp>
        <p:nvGrpSpPr>
          <p:cNvPr id="81" name="LegendMoons" hidden="1"/>
          <p:cNvGrpSpPr/>
          <p:nvPr userDrawn="1"/>
        </p:nvGrpSpPr>
        <p:grpSpPr bwMode="auto">
          <a:xfrm>
            <a:off x="8085006" y="297883"/>
            <a:ext cx="830430" cy="1306516"/>
            <a:chOff x="7769225" y="250825"/>
            <a:chExt cx="830430" cy="1306516"/>
          </a:xfrm>
        </p:grpSpPr>
        <p:grpSp>
          <p:nvGrpSpPr>
            <p:cNvPr id="82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0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224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101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224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</p:grpSp>
        <p:grpSp>
          <p:nvGrpSpPr>
            <p:cNvPr id="83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224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224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</p:grpSp>
        <p:grpSp>
          <p:nvGrpSpPr>
            <p:cNvPr id="84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224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224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</p:grpSp>
        <p:grpSp>
          <p:nvGrpSpPr>
            <p:cNvPr id="85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224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224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</p:grpSp>
        <p:grpSp>
          <p:nvGrpSpPr>
            <p:cNvPr id="86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224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224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</p:grpSp>
        <p:sp>
          <p:nvSpPr>
            <p:cNvPr id="87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  <p:sp>
          <p:nvSpPr>
            <p:cNvPr id="88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  <p:sp>
          <p:nvSpPr>
            <p:cNvPr id="89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  <p:sp>
          <p:nvSpPr>
            <p:cNvPr id="90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  <p:sp>
          <p:nvSpPr>
            <p:cNvPr id="91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43079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</p:sldLayoutIdLst>
  <p:hf hdr="0" ftr="0" dt="0"/>
  <p:txStyles>
    <p:titleStyle>
      <a:lvl1pPr algn="l" defTabSz="913542" rtl="0" eaLnBrk="1" fontAlgn="base" hangingPunct="1">
        <a:spcBef>
          <a:spcPct val="0"/>
        </a:spcBef>
        <a:spcAft>
          <a:spcPct val="0"/>
        </a:spcAft>
        <a:tabLst>
          <a:tab pos="275358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42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42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42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42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489" algn="l" defTabSz="913542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2979" algn="l" defTabSz="913542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467" algn="l" defTabSz="913542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5957" algn="l" defTabSz="913542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2024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26846" indent="-155448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79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489" algn="l" defTabSz="932979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979" algn="l" defTabSz="932979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9467" algn="l" defTabSz="932979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957" algn="l" defTabSz="932979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2446" algn="l" defTabSz="932979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8936" algn="l" defTabSz="932979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5424" algn="l" defTabSz="932979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1914" algn="l" defTabSz="932979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2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6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endParaRPr lang="x-none" sz="1632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 flipV="1"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FEFEFE"/>
              </a:gs>
              <a:gs pos="100000">
                <a:srgbClr val="F3F3F3"/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02" name="Rectangle 101"/>
          <p:cNvSpPr/>
          <p:nvPr userDrawn="1"/>
        </p:nvSpPr>
        <p:spPr bwMode="auto">
          <a:xfrm>
            <a:off x="-12591" y="383958"/>
            <a:ext cx="649224" cy="45719"/>
          </a:xfrm>
          <a:prstGeom prst="rect">
            <a:avLst/>
          </a:prstGeom>
          <a:solidFill>
            <a:srgbClr val="FEC32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24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103" name="TextBox 102"/>
          <p:cNvSpPr txBox="1"/>
          <p:nvPr userDrawn="1"/>
        </p:nvSpPr>
        <p:spPr bwMode="auto">
          <a:xfrm>
            <a:off x="518746" y="4907744"/>
            <a:ext cx="295909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dirty="0">
                <a:solidFill>
                  <a:srgbClr val="7C7C7C"/>
                </a:solidFill>
                <a:latin typeface="Calibri" panose="020F0502020204030204" pitchFamily="34" charset="0"/>
                <a:ea typeface="+mn-ea"/>
                <a:cs typeface="Calibri Light"/>
                <a:sym typeface="Calibri" panose="020F0502020204030204" pitchFamily="34" charset="0"/>
              </a:rPr>
              <a:t>©Larsen &amp; Toubro Infotech Ltd. Privileged and Confidential</a:t>
            </a:r>
          </a:p>
        </p:txBody>
      </p:sp>
      <p:pic>
        <p:nvPicPr>
          <p:cNvPr id="104" name="Picture 103" descr="LNT Infotech_K.png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1839" y="4932228"/>
            <a:ext cx="663115" cy="178857"/>
          </a:xfrm>
          <a:prstGeom prst="rect">
            <a:avLst/>
          </a:prstGeom>
        </p:spPr>
      </p:pic>
      <p:sp>
        <p:nvSpPr>
          <p:cNvPr id="105" name="Rectangle 104"/>
          <p:cNvSpPr/>
          <p:nvPr userDrawn="1"/>
        </p:nvSpPr>
        <p:spPr bwMode="auto">
          <a:xfrm>
            <a:off x="105544" y="4861950"/>
            <a:ext cx="36740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457200">
              <a:defRPr/>
            </a:pPr>
            <a:fld id="{9C5957C0-C9FD-924F-A662-3B71DAE40C56}" type="slidenum">
              <a:rPr lang="uk-UA" smtClean="0">
                <a:solidFill>
                  <a:srgbClr val="7C7C7C"/>
                </a:solidFill>
                <a:latin typeface="Calibri" panose="020F0502020204030204" pitchFamily="34" charset="0"/>
                <a:ea typeface="+mn-ea"/>
                <a:cs typeface="Calibri Light"/>
                <a:sym typeface="Calibri" panose="020F0502020204030204" pitchFamily="34" charset="0"/>
              </a:rPr>
              <a:pPr algn="l" defTabSz="457200">
                <a:defRPr/>
              </a:pPr>
              <a:t>‹#›</a:t>
            </a:fld>
            <a:endParaRPr lang="uk-UA" sz="1000" dirty="0">
              <a:solidFill>
                <a:srgbClr val="7C7C7C"/>
              </a:solidFill>
              <a:latin typeface="Calibri" panose="020F0502020204030204" pitchFamily="34" charset="0"/>
              <a:ea typeface="+mn-ea"/>
              <a:cs typeface="Calibri Light"/>
              <a:sym typeface="Calibri" panose="020F0502020204030204" pitchFamily="34" charset="0"/>
            </a:endParaRPr>
          </a:p>
        </p:txBody>
      </p:sp>
      <p:sp>
        <p:nvSpPr>
          <p:cNvPr id="106" name="Rectangle 105"/>
          <p:cNvSpPr/>
          <p:nvPr userDrawn="1"/>
        </p:nvSpPr>
        <p:spPr bwMode="auto">
          <a:xfrm>
            <a:off x="8491329" y="5007339"/>
            <a:ext cx="649224" cy="45719"/>
          </a:xfrm>
          <a:prstGeom prst="rect">
            <a:avLst/>
          </a:prstGeom>
          <a:solidFill>
            <a:srgbClr val="FEC32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24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 flipH="1">
            <a:off x="7993502" y="38876"/>
            <a:ext cx="92367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42"/>
            <a:endParaRPr lang="x-none" sz="459" dirty="0">
              <a:solidFill>
                <a:srgbClr val="808080"/>
              </a:solidFill>
              <a:latin typeface="Calibri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14376" y="251222"/>
            <a:ext cx="820106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714376" y="57977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/>
            <a:r>
              <a:rPr lang="x-none" sz="800" cap="all" dirty="0">
                <a:solidFill>
                  <a:srgbClr val="808080"/>
                </a:solidFill>
                <a:latin typeface="Calibri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714376" y="559548"/>
            <a:ext cx="820106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defRPr lang="x-none"/>
            </a:pPr>
            <a:r>
              <a:rPr sz="1600" dirty="0">
                <a:solidFill>
                  <a:srgbClr val="808080"/>
                </a:solidFill>
                <a:latin typeface="Calibri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auto">
          <a:xfrm>
            <a:off x="205738" y="4568693"/>
            <a:ext cx="8709697" cy="276976"/>
            <a:chOff x="75" y="3913"/>
            <a:chExt cx="5385" cy="22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13"/>
              <a:ext cx="5385" cy="1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 algn="l">
                <a:defRPr lang="x-none"/>
              </a:pPr>
              <a:r>
                <a:rPr sz="800" dirty="0">
                  <a:solidFill>
                    <a:srgbClr val="808080"/>
                  </a:solidFill>
                  <a:latin typeface="Calibri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40"/>
              <a:ext cx="4230" cy="1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17525" indent="-517525" algn="l" defTabSz="913542"/>
              <a:r>
                <a:rPr lang="x-none" sz="800" dirty="0">
                  <a:solidFill>
                    <a:srgbClr val="808080"/>
                  </a:solidFill>
                  <a:latin typeface="Calibri"/>
                  <a:ea typeface="+mn-ea"/>
                </a:rPr>
                <a:t>SOURCE : Source</a:t>
              </a:r>
              <a:endParaRPr lang="en-US" sz="800" dirty="0">
                <a:solidFill>
                  <a:srgbClr val="808080"/>
                </a:solidFill>
                <a:latin typeface="Calibri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778719" y="1961396"/>
            <a:ext cx="4350891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778717" y="1307915"/>
            <a:ext cx="4350891" cy="511436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/>
              <a:r>
                <a:rPr lang="x-none" sz="1600" b="1" dirty="0">
                  <a:solidFill>
                    <a:srgbClr val="000000"/>
                  </a:solidFill>
                  <a:latin typeface="Calibri"/>
                  <a:ea typeface="+mn-ea"/>
                </a:rPr>
                <a:t>Title</a:t>
              </a:r>
            </a:p>
            <a:p>
              <a:pPr algn="l"/>
              <a:r>
                <a:rPr lang="x-none" sz="1600" dirty="0">
                  <a:solidFill>
                    <a:srgbClr val="808080"/>
                  </a:solidFill>
                  <a:latin typeface="Calibri"/>
                  <a:ea typeface="+mn-ea"/>
                </a:rPr>
                <a:t>Unit of measure</a:t>
              </a:r>
            </a:p>
          </p:txBody>
        </p:sp>
      </p:grpSp>
      <p:grpSp>
        <p:nvGrpSpPr>
          <p:cNvPr id="60" name="McKSticker" hidden="1"/>
          <p:cNvGrpSpPr/>
          <p:nvPr userDrawn="1"/>
        </p:nvGrpSpPr>
        <p:grpSpPr bwMode="auto">
          <a:xfrm>
            <a:off x="8442101" y="297883"/>
            <a:ext cx="473335" cy="150811"/>
            <a:chOff x="8267440" y="285750"/>
            <a:chExt cx="473335" cy="150811"/>
          </a:xfrm>
        </p:grpSpPr>
        <p:sp>
          <p:nvSpPr>
            <p:cNvPr id="62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dirty="0">
                  <a:solidFill>
                    <a:srgbClr val="808080"/>
                  </a:solidFill>
                  <a:latin typeface="Calibri"/>
                  <a:ea typeface="+mn-ea"/>
                </a:rPr>
                <a:t>STICKER</a:t>
              </a:r>
            </a:p>
          </p:txBody>
        </p:sp>
        <p:cxnSp>
          <p:nvCxnSpPr>
            <p:cNvPr id="63" name="AutoShape 31"/>
            <p:cNvCxnSpPr>
              <a:cxnSpLocks noChangeShapeType="1"/>
              <a:stCxn id="62" idx="2"/>
              <a:endCxn id="62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4" name="AutoShape 32"/>
            <p:cNvCxnSpPr>
              <a:cxnSpLocks noChangeShapeType="1"/>
              <a:stCxn id="62" idx="4"/>
              <a:endCxn id="62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5" name="LegendBoxes" hidden="1"/>
          <p:cNvGrpSpPr/>
          <p:nvPr userDrawn="1"/>
        </p:nvGrpSpPr>
        <p:grpSpPr bwMode="auto">
          <a:xfrm>
            <a:off x="8151681" y="297883"/>
            <a:ext cx="763755" cy="997467"/>
            <a:chOff x="7835905" y="279400"/>
            <a:chExt cx="763755" cy="997467"/>
          </a:xfrm>
        </p:grpSpPr>
        <p:sp>
          <p:nvSpPr>
            <p:cNvPr id="66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x-none" sz="1224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67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x-none" sz="1224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68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x-none" sz="1224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69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x-none" sz="1224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70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  <p:sp>
          <p:nvSpPr>
            <p:cNvPr id="71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  <p:sp>
          <p:nvSpPr>
            <p:cNvPr id="73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</p:grpSp>
      <p:grpSp>
        <p:nvGrpSpPr>
          <p:cNvPr id="74" name="LegendLines" hidden="1"/>
          <p:cNvGrpSpPr/>
          <p:nvPr userDrawn="1"/>
        </p:nvGrpSpPr>
        <p:grpSpPr bwMode="auto">
          <a:xfrm>
            <a:off x="7843873" y="297883"/>
            <a:ext cx="1071563" cy="730251"/>
            <a:chOff x="7540629" y="279400"/>
            <a:chExt cx="1071563" cy="730251"/>
          </a:xfrm>
        </p:grpSpPr>
        <p:sp>
          <p:nvSpPr>
            <p:cNvPr id="75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/>
              <a:endParaRPr lang="x-none" sz="1224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76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/>
              <a:endParaRPr lang="x-none" sz="1224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77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/>
              <a:endParaRPr lang="x-none" sz="1224" dirty="0">
                <a:solidFill>
                  <a:srgbClr val="000000"/>
                </a:solidFill>
                <a:latin typeface="Calibri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</p:grpSp>
      <p:grpSp>
        <p:nvGrpSpPr>
          <p:cNvPr id="81" name="LegendMoons" hidden="1"/>
          <p:cNvGrpSpPr/>
          <p:nvPr userDrawn="1"/>
        </p:nvGrpSpPr>
        <p:grpSpPr bwMode="auto">
          <a:xfrm>
            <a:off x="8085006" y="297883"/>
            <a:ext cx="830430" cy="1306516"/>
            <a:chOff x="7769225" y="250825"/>
            <a:chExt cx="830430" cy="1306516"/>
          </a:xfrm>
        </p:grpSpPr>
        <p:grpSp>
          <p:nvGrpSpPr>
            <p:cNvPr id="82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0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224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101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224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</p:grpSp>
        <p:grpSp>
          <p:nvGrpSpPr>
            <p:cNvPr id="83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224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224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</p:grpSp>
        <p:grpSp>
          <p:nvGrpSpPr>
            <p:cNvPr id="84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224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224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</p:grpSp>
        <p:grpSp>
          <p:nvGrpSpPr>
            <p:cNvPr id="85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224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224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</p:grpSp>
        <p:grpSp>
          <p:nvGrpSpPr>
            <p:cNvPr id="86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224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224" dirty="0">
                  <a:solidFill>
                    <a:srgbClr val="000000"/>
                  </a:solidFill>
                  <a:latin typeface="Calibri"/>
                  <a:ea typeface="+mn-ea"/>
                </a:endParaRPr>
              </a:p>
            </p:txBody>
          </p:sp>
        </p:grpSp>
        <p:sp>
          <p:nvSpPr>
            <p:cNvPr id="87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  <p:sp>
          <p:nvSpPr>
            <p:cNvPr id="88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  <p:sp>
          <p:nvSpPr>
            <p:cNvPr id="89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  <p:sp>
          <p:nvSpPr>
            <p:cNvPr id="90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  <p:sp>
          <p:nvSpPr>
            <p:cNvPr id="91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124079"/>
                </a:buClr>
              </a:pPr>
              <a:r>
                <a:rPr lang="x-none" dirty="0">
                  <a:solidFill>
                    <a:srgbClr val="000000"/>
                  </a:solidFill>
                  <a:latin typeface="Calibri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05436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</p:sldLayoutIdLst>
  <p:hf hdr="0" ftr="0" dt="0"/>
  <p:txStyles>
    <p:titleStyle>
      <a:lvl1pPr algn="l" defTabSz="913542" rtl="0" eaLnBrk="1" fontAlgn="base" hangingPunct="1">
        <a:spcBef>
          <a:spcPct val="0"/>
        </a:spcBef>
        <a:spcAft>
          <a:spcPct val="0"/>
        </a:spcAft>
        <a:tabLst>
          <a:tab pos="275358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42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42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42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42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489" algn="l" defTabSz="913542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2979" algn="l" defTabSz="913542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467" algn="l" defTabSz="913542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5957" algn="l" defTabSz="913542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2024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26846" indent="-155448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79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489" algn="l" defTabSz="932979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979" algn="l" defTabSz="932979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9467" algn="l" defTabSz="932979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957" algn="l" defTabSz="932979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2446" algn="l" defTabSz="932979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8936" algn="l" defTabSz="932979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5424" algn="l" defTabSz="932979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1914" algn="l" defTabSz="932979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6249" y="3907747"/>
            <a:ext cx="1170432" cy="1249680"/>
          </a:xfrm>
          <a:prstGeom prst="rect">
            <a:avLst/>
          </a:prstGeom>
        </p:spPr>
      </p:pic>
      <p:sp>
        <p:nvSpPr>
          <p:cNvPr id="1026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58191" y="731070"/>
            <a:ext cx="8615227" cy="3934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29" name="Rectangle 83"/>
          <p:cNvSpPr>
            <a:spLocks noGrp="1" noChangeArrowheads="1"/>
          </p:cNvSpPr>
          <p:nvPr>
            <p:ph type="title"/>
          </p:nvPr>
        </p:nvSpPr>
        <p:spPr bwMode="gray">
          <a:xfrm>
            <a:off x="269880" y="240429"/>
            <a:ext cx="8594260" cy="38472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086254" y="4849624"/>
            <a:ext cx="295909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7C7C7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Larsen &amp; Toubro Infotech Ltd. Privileged and Confidentia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483657" y="4824117"/>
            <a:ext cx="3962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178">
              <a:defRPr/>
            </a:pPr>
            <a:fld id="{9C5957C0-C9FD-924F-A662-3B71DAE40C56}" type="slidenum">
              <a:rPr lang="uk-UA" sz="1400">
                <a:solidFill>
                  <a:srgbClr val="FEFDFD"/>
                </a:solidFill>
                <a:latin typeface="Calibri" panose="020F0502020204030204" pitchFamily="34" charset="0"/>
                <a:ea typeface="Calibri Light" charset="0"/>
                <a:cs typeface="Calibri" panose="020F0502020204030204" pitchFamily="34" charset="0"/>
              </a:rPr>
              <a:pPr defTabSz="457178">
                <a:defRPr/>
              </a:pPr>
              <a:t>‹#›</a:t>
            </a:fld>
            <a:endParaRPr lang="uk-UA" sz="1000" dirty="0">
              <a:solidFill>
                <a:srgbClr val="FEFDFD"/>
              </a:solidFill>
              <a:latin typeface="Calibri" panose="020F0502020204030204" pitchFamily="34" charset="0"/>
              <a:ea typeface="Calibri Light" charset="0"/>
              <a:cs typeface="Calibri" panose="020F050202020403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604" y="4789425"/>
            <a:ext cx="382341" cy="229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757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500" b="0" i="0" baseline="0">
          <a:solidFill>
            <a:srgbClr val="2C2D8B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5pPr>
      <a:lvl6pPr marL="389606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6pPr>
      <a:lvl7pPr marL="779213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7pPr>
      <a:lvl8pPr marL="116882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8pPr>
      <a:lvl9pPr marL="1558425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9pPr>
    </p:titleStyle>
    <p:bodyStyle>
      <a:lvl1pPr marL="146102" indent="-146102" algn="l" defTabSz="1566543" rtl="0" eaLnBrk="1" fontAlgn="base" hangingPunct="1">
        <a:spcBef>
          <a:spcPct val="75000"/>
        </a:spcBef>
        <a:spcAft>
          <a:spcPct val="0"/>
        </a:spcAft>
        <a:buClrTx/>
        <a:buFont typeface="Wingdings" charset="2"/>
        <a:buChar char="§"/>
        <a:defRPr sz="1600" b="0" i="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293559" indent="-146102" algn="l" defTabSz="1566543" rtl="0" eaLnBrk="1" fontAlgn="base" hangingPunct="1">
        <a:spcBef>
          <a:spcPct val="25000"/>
        </a:spcBef>
        <a:spcAft>
          <a:spcPct val="0"/>
        </a:spcAft>
        <a:buClrTx/>
        <a:buSzPct val="80000"/>
        <a:buFont typeface="Wingdings" charset="2"/>
        <a:buChar char="§"/>
        <a:defRPr sz="1600" b="0" i="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441013" indent="-146102" algn="l" defTabSz="1566543" rtl="0" eaLnBrk="1" fontAlgn="base" hangingPunct="1">
        <a:spcBef>
          <a:spcPct val="25000"/>
        </a:spcBef>
        <a:spcAft>
          <a:spcPct val="0"/>
        </a:spcAft>
        <a:buClrTx/>
        <a:buSzPct val="70000"/>
        <a:buFont typeface="Wingdings" charset="2"/>
        <a:buChar char="§"/>
        <a:defRPr sz="1600" b="0" i="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584411" indent="-142046" algn="l" defTabSz="1566543" rtl="0" eaLnBrk="1" fontAlgn="base" hangingPunct="1">
        <a:spcBef>
          <a:spcPct val="25000"/>
        </a:spcBef>
        <a:spcAft>
          <a:spcPct val="0"/>
        </a:spcAft>
        <a:buClrTx/>
        <a:buFont typeface="Arial"/>
        <a:buChar char="•"/>
        <a:defRPr sz="1600" b="0" i="0">
          <a:solidFill>
            <a:srgbClr val="000000"/>
          </a:solidFill>
          <a:latin typeface="Calibri Light"/>
          <a:ea typeface="+mn-ea"/>
          <a:cs typeface="Calibri Light"/>
        </a:defRPr>
      </a:lvl4pPr>
      <a:lvl5pPr marL="726454" indent="-140692" algn="l" defTabSz="1566543" rtl="0" eaLnBrk="1" fontAlgn="base" hangingPunct="1">
        <a:spcBef>
          <a:spcPct val="25000"/>
        </a:spcBef>
        <a:spcAft>
          <a:spcPct val="0"/>
        </a:spcAft>
        <a:buClrTx/>
        <a:buFont typeface="Arial"/>
        <a:buChar char="•"/>
        <a:defRPr sz="1600" b="0" i="0">
          <a:solidFill>
            <a:srgbClr val="000000"/>
          </a:solidFill>
          <a:latin typeface="Calibri Light"/>
          <a:ea typeface="+mn-ea"/>
          <a:cs typeface="Calibri Light"/>
        </a:defRPr>
      </a:lvl5pPr>
      <a:lvl6pPr marL="1116060" indent="-140692" algn="l" defTabSz="1566543" rtl="0" eaLnBrk="1" fontAlgn="base" hangingPunct="1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200">
          <a:solidFill>
            <a:srgbClr val="53565A"/>
          </a:solidFill>
          <a:latin typeface="+mn-lt"/>
          <a:ea typeface="+mn-ea"/>
          <a:cs typeface="+mn-cs"/>
        </a:defRPr>
      </a:lvl6pPr>
      <a:lvl7pPr marL="1505667" indent="-140692" algn="l" defTabSz="1566543" rtl="0" eaLnBrk="1" fontAlgn="base" hangingPunct="1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200">
          <a:solidFill>
            <a:srgbClr val="53565A"/>
          </a:solidFill>
          <a:latin typeface="+mn-lt"/>
          <a:ea typeface="+mn-ea"/>
          <a:cs typeface="+mn-cs"/>
        </a:defRPr>
      </a:lvl7pPr>
      <a:lvl8pPr marL="1895273" indent="-140692" algn="l" defTabSz="1566543" rtl="0" eaLnBrk="1" fontAlgn="base" hangingPunct="1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200">
          <a:solidFill>
            <a:srgbClr val="53565A"/>
          </a:solidFill>
          <a:latin typeface="+mn-lt"/>
          <a:ea typeface="+mn-ea"/>
          <a:cs typeface="+mn-cs"/>
        </a:defRPr>
      </a:lvl8pPr>
      <a:lvl9pPr marL="2284880" indent="-140692" algn="l" defTabSz="1566543" rtl="0" eaLnBrk="1" fontAlgn="base" hangingPunct="1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20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1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06" algn="l" defTabSz="77921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13" algn="l" defTabSz="77921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20" algn="l" defTabSz="77921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425" algn="l" defTabSz="77921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031" algn="l" defTabSz="77921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638" algn="l" defTabSz="77921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245" algn="l" defTabSz="77921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851" algn="l" defTabSz="77921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t"/>
          <a:lstStyle/>
          <a:p>
            <a:r>
              <a:rPr lang="en-IN" dirty="0"/>
              <a:t>Ecommerce Bot PO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5862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8BA068F-B00D-4501-B39D-1386AB96E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879" y="175880"/>
            <a:ext cx="8024283" cy="307777"/>
          </a:xfrm>
        </p:spPr>
        <p:txBody>
          <a:bodyPr/>
          <a:lstStyle/>
          <a:p>
            <a:r>
              <a:rPr lang="en-US" dirty="0"/>
              <a:t>Ecommerce Bot POC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42B85F3-4D56-41E3-A46D-EBECB4582BDE}"/>
              </a:ext>
            </a:extLst>
          </p:cNvPr>
          <p:cNvSpPr/>
          <p:nvPr/>
        </p:nvSpPr>
        <p:spPr bwMode="auto">
          <a:xfrm>
            <a:off x="3733428" y="935259"/>
            <a:ext cx="1677143" cy="44604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>
                <a:latin typeface="Calibri" panose="020F0502020204030204" pitchFamily="34" charset="0"/>
              </a:rPr>
              <a:t>Ecommerce Bot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FFE8312-C0CF-4AD4-A4B6-90059B194A15}"/>
              </a:ext>
            </a:extLst>
          </p:cNvPr>
          <p:cNvSpPr/>
          <p:nvPr/>
        </p:nvSpPr>
        <p:spPr bwMode="auto">
          <a:xfrm>
            <a:off x="6866747" y="2572074"/>
            <a:ext cx="1677143" cy="44604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>
                <a:latin typeface="Calibri" panose="020F0502020204030204" pitchFamily="34" charset="0"/>
              </a:rPr>
              <a:t>FAQ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3392848-2A5E-4618-B330-2D970DA8CD9D}"/>
              </a:ext>
            </a:extLst>
          </p:cNvPr>
          <p:cNvSpPr/>
          <p:nvPr/>
        </p:nvSpPr>
        <p:spPr bwMode="auto">
          <a:xfrm>
            <a:off x="3733429" y="2572074"/>
            <a:ext cx="1677143" cy="44604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>
                <a:latin typeface="Calibri" panose="020F0502020204030204" pitchFamily="34" charset="0"/>
              </a:rPr>
              <a:t>Complaint Management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8CFAFB1-453D-481F-ABCE-50A50ECE1938}"/>
              </a:ext>
            </a:extLst>
          </p:cNvPr>
          <p:cNvSpPr/>
          <p:nvPr/>
        </p:nvSpPr>
        <p:spPr bwMode="auto">
          <a:xfrm>
            <a:off x="533029" y="2572073"/>
            <a:ext cx="1677143" cy="44604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>
                <a:latin typeface="Calibri" panose="020F0502020204030204" pitchFamily="34" charset="0"/>
              </a:rPr>
              <a:t>Order Management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70608E6B-1120-47F7-9EB4-CE3D1791F7C3}"/>
              </a:ext>
            </a:extLst>
          </p:cNvPr>
          <p:cNvCxnSpPr>
            <a:stCxn id="5" idx="2"/>
            <a:endCxn id="7" idx="0"/>
          </p:cNvCxnSpPr>
          <p:nvPr/>
        </p:nvCxnSpPr>
        <p:spPr bwMode="auto">
          <a:xfrm>
            <a:off x="4572000" y="1381307"/>
            <a:ext cx="1" cy="1190767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75F88E8D-F733-4880-85C2-A5AE115D89DF}"/>
              </a:ext>
            </a:extLst>
          </p:cNvPr>
          <p:cNvCxnSpPr>
            <a:cxnSpLocks/>
            <a:stCxn id="5" idx="2"/>
            <a:endCxn id="8" idx="0"/>
          </p:cNvCxnSpPr>
          <p:nvPr/>
        </p:nvCxnSpPr>
        <p:spPr bwMode="auto">
          <a:xfrm rot="5400000">
            <a:off x="2376418" y="376491"/>
            <a:ext cx="1190766" cy="3200399"/>
          </a:xfrm>
          <a:prstGeom prst="bentConnector3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EEA4262B-5BD2-4D37-BEF9-C21DC20D84A2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 bwMode="auto">
          <a:xfrm rot="16200000" flipH="1">
            <a:off x="5543276" y="410030"/>
            <a:ext cx="1190767" cy="3133319"/>
          </a:xfrm>
          <a:prstGeom prst="bentConnector3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F8399B8-561E-41E2-96E5-FE4B816B82ED}"/>
              </a:ext>
            </a:extLst>
          </p:cNvPr>
          <p:cNvSpPr/>
          <p:nvPr/>
        </p:nvSpPr>
        <p:spPr bwMode="auto">
          <a:xfrm>
            <a:off x="90426" y="3706110"/>
            <a:ext cx="1281175" cy="44604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>
                <a:latin typeface="Calibri" panose="020F0502020204030204" pitchFamily="34" charset="0"/>
              </a:rPr>
              <a:t>Order Tracking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7DF073E3-CB55-4B71-844A-EF4A2ED4132E}"/>
              </a:ext>
            </a:extLst>
          </p:cNvPr>
          <p:cNvSpPr/>
          <p:nvPr/>
        </p:nvSpPr>
        <p:spPr bwMode="auto">
          <a:xfrm>
            <a:off x="1553943" y="3706110"/>
            <a:ext cx="1281175" cy="44604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>
                <a:latin typeface="Calibri" panose="020F0502020204030204" pitchFamily="34" charset="0"/>
              </a:rPr>
              <a:t>Order Cancellation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B694989-1324-4F0C-B9FE-3B098BCB6C18}"/>
              </a:ext>
            </a:extLst>
          </p:cNvPr>
          <p:cNvSpPr/>
          <p:nvPr/>
        </p:nvSpPr>
        <p:spPr bwMode="auto">
          <a:xfrm>
            <a:off x="3309829" y="3706110"/>
            <a:ext cx="1144406" cy="44604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>
                <a:latin typeface="Calibri" panose="020F0502020204030204" pitchFamily="34" charset="0"/>
              </a:rPr>
              <a:t>Register Complaint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CF1AF4CF-2093-41AA-8638-FB3F22928DA4}"/>
              </a:ext>
            </a:extLst>
          </p:cNvPr>
          <p:cNvSpPr/>
          <p:nvPr/>
        </p:nvSpPr>
        <p:spPr bwMode="auto">
          <a:xfrm>
            <a:off x="4926946" y="3706110"/>
            <a:ext cx="1144407" cy="44604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>
                <a:latin typeface="Calibri" panose="020F0502020204030204" pitchFamily="34" charset="0"/>
              </a:rPr>
              <a:t>Track Complaint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2DA2F760-72BF-4E29-ADE1-0A8CC03CF0BF}"/>
              </a:ext>
            </a:extLst>
          </p:cNvPr>
          <p:cNvSpPr/>
          <p:nvPr/>
        </p:nvSpPr>
        <p:spPr bwMode="auto">
          <a:xfrm>
            <a:off x="6747726" y="3702799"/>
            <a:ext cx="1915182" cy="5195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>
                <a:latin typeface="Calibri" panose="020F0502020204030204" pitchFamily="34" charset="0"/>
              </a:rPr>
              <a:t>Replies with the answers that users frequently ask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EDD487ED-792D-488A-A12C-5D1E524AB973}"/>
              </a:ext>
            </a:extLst>
          </p:cNvPr>
          <p:cNvCxnSpPr>
            <a:cxnSpLocks/>
            <a:stCxn id="8" idx="2"/>
            <a:endCxn id="15" idx="0"/>
          </p:cNvCxnSpPr>
          <p:nvPr/>
        </p:nvCxnSpPr>
        <p:spPr bwMode="auto">
          <a:xfrm rot="5400000">
            <a:off x="707314" y="3041822"/>
            <a:ext cx="687989" cy="640587"/>
          </a:xfrm>
          <a:prstGeom prst="bentConnector3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188362AB-ECA0-47D4-920F-D3D6131EEFF9}"/>
              </a:ext>
            </a:extLst>
          </p:cNvPr>
          <p:cNvCxnSpPr>
            <a:cxnSpLocks/>
            <a:stCxn id="8" idx="2"/>
            <a:endCxn id="16" idx="0"/>
          </p:cNvCxnSpPr>
          <p:nvPr/>
        </p:nvCxnSpPr>
        <p:spPr bwMode="auto">
          <a:xfrm rot="16200000" flipH="1">
            <a:off x="1439072" y="2950650"/>
            <a:ext cx="687989" cy="822930"/>
          </a:xfrm>
          <a:prstGeom prst="bentConnector3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4F7FF1B3-36E2-4EA0-8F53-03DB58611FC0}"/>
              </a:ext>
            </a:extLst>
          </p:cNvPr>
          <p:cNvCxnSpPr>
            <a:stCxn id="7" idx="2"/>
            <a:endCxn id="17" idx="0"/>
          </p:cNvCxnSpPr>
          <p:nvPr/>
        </p:nvCxnSpPr>
        <p:spPr bwMode="auto">
          <a:xfrm rot="5400000">
            <a:off x="3883023" y="3017132"/>
            <a:ext cx="687988" cy="689969"/>
          </a:xfrm>
          <a:prstGeom prst="bentConnector3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or: Elbow 37">
            <a:extLst>
              <a:ext uri="{FF2B5EF4-FFF2-40B4-BE49-F238E27FC236}">
                <a16:creationId xmlns:a16="http://schemas.microsoft.com/office/drawing/2014/main" id="{C7F9A6BB-DB94-4142-8ADD-5994BFF855FD}"/>
              </a:ext>
            </a:extLst>
          </p:cNvPr>
          <p:cNvCxnSpPr>
            <a:cxnSpLocks/>
            <a:stCxn id="7" idx="2"/>
            <a:endCxn id="27" idx="0"/>
          </p:cNvCxnSpPr>
          <p:nvPr/>
        </p:nvCxnSpPr>
        <p:spPr bwMode="auto">
          <a:xfrm rot="16200000" flipH="1">
            <a:off x="4691581" y="2898541"/>
            <a:ext cx="687988" cy="927149"/>
          </a:xfrm>
          <a:prstGeom prst="bentConnector3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5B0C1B56-1A14-435C-9A82-7819D855BCBB}"/>
              </a:ext>
            </a:extLst>
          </p:cNvPr>
          <p:cNvCxnSpPr>
            <a:cxnSpLocks/>
            <a:stCxn id="6" idx="2"/>
            <a:endCxn id="28" idx="0"/>
          </p:cNvCxnSpPr>
          <p:nvPr/>
        </p:nvCxnSpPr>
        <p:spPr bwMode="auto">
          <a:xfrm flipH="1">
            <a:off x="7705317" y="3018122"/>
            <a:ext cx="2" cy="684677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78133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373E5E2-0F1D-400D-9672-4082298751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08414" y="2427181"/>
            <a:ext cx="4527171" cy="797138"/>
          </a:xfrm>
        </p:spPr>
        <p:txBody>
          <a:bodyPr/>
          <a:lstStyle/>
          <a:p>
            <a:pPr marL="0" indent="0" algn="ctr">
              <a:buNone/>
            </a:pPr>
            <a:r>
              <a:rPr lang="en-GB" b="1" dirty="0"/>
              <a:t>THANK YOU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561D188-E1B8-4CEA-822C-210833E5C2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4BF8EAF-F8C7-4CAB-842B-5CB54041854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2204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52459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L&amp;T Infotech">
  <a:themeElements>
    <a:clrScheme name="L&amp;T">
      <a:dk1>
        <a:srgbClr val="7C7C7C"/>
      </a:dk1>
      <a:lt1>
        <a:srgbClr val="FEFDFD"/>
      </a:lt1>
      <a:dk2>
        <a:srgbClr val="B2B2B2"/>
      </a:dk2>
      <a:lt2>
        <a:srgbClr val="FEFDFD"/>
      </a:lt2>
      <a:accent1>
        <a:srgbClr val="124079"/>
      </a:accent1>
      <a:accent2>
        <a:srgbClr val="7C7C7C"/>
      </a:accent2>
      <a:accent3>
        <a:srgbClr val="FCC320"/>
      </a:accent3>
      <a:accent4>
        <a:srgbClr val="20BDBE"/>
      </a:accent4>
      <a:accent5>
        <a:srgbClr val="706952"/>
      </a:accent5>
      <a:accent6>
        <a:srgbClr val="1AB26C"/>
      </a:accent6>
      <a:hlink>
        <a:srgbClr val="939598"/>
      </a:hlink>
      <a:folHlink>
        <a:srgbClr val="BBBDC0"/>
      </a:folHlink>
    </a:clrScheme>
    <a:fontScheme name="ICG Fonts">
      <a:majorFont>
        <a:latin typeface="Arial"/>
        <a:ea typeface="STKaiti"/>
        <a:cs typeface=""/>
      </a:majorFont>
      <a:minorFont>
        <a:latin typeface="Arial"/>
        <a:ea typeface="STKait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folHlink"/>
        </a:solidFill>
        <a:ln w="6350" cap="flat" cmpd="sng" algn="ctr">
          <a:noFill/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>
          <a:defRPr>
            <a:latin typeface="Calibri" panose="020F050202020403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baseline="0" dirty="0">
            <a:latin typeface="Calibri" panose="020F0502020204030204" pitchFamily="34" charset="0"/>
            <a:ea typeface="+mj-ea"/>
          </a:defRPr>
        </a:defPPr>
      </a:lstStyle>
    </a:txDef>
  </a:objectDefaults>
  <a:extraClrSchemeLst>
    <a:extraClrScheme>
      <a:clrScheme name="ICG_Pres (A4) 1">
        <a:dk1>
          <a:srgbClr val="53565A"/>
        </a:dk1>
        <a:lt1>
          <a:srgbClr val="FFFFFF"/>
        </a:lt1>
        <a:dk2>
          <a:srgbClr val="97999B"/>
        </a:dk2>
        <a:lt2>
          <a:srgbClr val="53565A"/>
        </a:lt2>
        <a:accent1>
          <a:srgbClr val="002D72"/>
        </a:accent1>
        <a:accent2>
          <a:srgbClr val="99ABC7"/>
        </a:accent2>
        <a:accent3>
          <a:srgbClr val="FFFFFF"/>
        </a:accent3>
        <a:accent4>
          <a:srgbClr val="46484C"/>
        </a:accent4>
        <a:accent5>
          <a:srgbClr val="AAADBC"/>
        </a:accent5>
        <a:accent6>
          <a:srgbClr val="8A9BB4"/>
        </a:accent6>
        <a:hlink>
          <a:srgbClr val="00BDF2"/>
        </a:hlink>
        <a:folHlink>
          <a:srgbClr val="99E4F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Aqua">
      <a:srgbClr val="00B0B9"/>
    </a:custClr>
    <a:custClr name="Aqua Tint">
      <a:srgbClr val="99DFE3"/>
    </a:custClr>
    <a:custClr name="Goldenrod">
      <a:srgbClr val="C99700"/>
    </a:custClr>
    <a:custClr name="Goldenrod Tint">
      <a:srgbClr val="E9D599"/>
    </a:custClr>
    <a:custClr name="Forest">
      <a:srgbClr val="00843D"/>
    </a:custClr>
    <a:custClr name="Forest Tint">
      <a:srgbClr val="66B797"/>
    </a:custClr>
    <a:custClr name="Plum">
      <a:srgbClr val="890C58"/>
    </a:custClr>
    <a:custClr name="Plum Tint">
      <a:srgbClr val="B37A9F"/>
    </a:custClr>
    <a:custClr name="Olive">
      <a:srgbClr val="949300"/>
    </a:custClr>
    <a:custClr name="Olive Tint">
      <a:srgbClr val="D4D499"/>
    </a:custClr>
    <a:custClr name="Teal">
      <a:srgbClr val="007377"/>
    </a:custClr>
    <a:custClr name="Teal Tint">
      <a:srgbClr val="99C7C9"/>
    </a:custClr>
    <a:custClr name="Tangerine">
      <a:srgbClr val="ED8B00"/>
    </a:custClr>
    <a:custClr name="Tangerine Tint">
      <a:srgbClr val="F8D199"/>
    </a:custClr>
    <a:custClr name="Purple">
      <a:srgbClr val="6B3077"/>
    </a:custClr>
    <a:custClr name="Purple Tint">
      <a:srgbClr val="C4ACC9"/>
    </a:custClr>
    <a:custClr name="Green">
      <a:srgbClr val="84BD00"/>
    </a:custClr>
    <a:custClr name="Green Tint">
      <a:srgbClr val="CEE599"/>
    </a:custClr>
    <a:custClr name="White">
      <a:srgbClr val="FFFFFF"/>
    </a:custClr>
    <a:custClr name="White">
      <a:srgbClr val="FFFFFF"/>
    </a:custClr>
    <a:custClr name="Burnt Orange">
      <a:srgbClr val="CB6015"/>
    </a:custClr>
    <a:custClr name="Citi Cyan Tint (20%)">
      <a:srgbClr val="CCF2FC"/>
    </a:custClr>
    <a:custClr name="Citi Light Gray Tint(20%)">
      <a:srgbClr val="EAEBEB"/>
    </a:custClr>
  </a:custClr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&amp;T Infotech_CF_L&amp;T032">
  <a:themeElements>
    <a:clrScheme name="Current">
      <a:dk1>
        <a:srgbClr val="000000"/>
      </a:dk1>
      <a:lt1>
        <a:srgbClr val="FFFFFF"/>
      </a:lt1>
      <a:dk2>
        <a:srgbClr val="124079"/>
      </a:dk2>
      <a:lt2>
        <a:srgbClr val="FFFFFF"/>
      </a:lt2>
      <a:accent1>
        <a:srgbClr val="DDDDDD"/>
      </a:accent1>
      <a:accent2>
        <a:srgbClr val="FCC320"/>
      </a:accent2>
      <a:accent3>
        <a:srgbClr val="0065BD"/>
      </a:accent3>
      <a:accent4>
        <a:srgbClr val="124079"/>
      </a:accent4>
      <a:accent5>
        <a:srgbClr val="20BDBE"/>
      </a:accent5>
      <a:accent6>
        <a:srgbClr val="808080"/>
      </a:accent6>
      <a:hlink>
        <a:srgbClr val="0065BD"/>
      </a:hlink>
      <a:folHlink>
        <a:srgbClr val="124079"/>
      </a:folHlink>
    </a:clrScheme>
    <a:fontScheme name="Custom 3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24079"/>
        </a:dk2>
        <a:lt2>
          <a:srgbClr val="FFFFFF"/>
        </a:lt2>
        <a:accent1>
          <a:srgbClr val="DDDDDD"/>
        </a:accent1>
        <a:accent2>
          <a:srgbClr val="FCC320"/>
        </a:accent2>
        <a:accent3>
          <a:srgbClr val="0065BD"/>
        </a:accent3>
        <a:accent4>
          <a:srgbClr val="124079"/>
        </a:accent4>
        <a:accent5>
          <a:srgbClr val="20BDBE"/>
        </a:accent5>
        <a:accent6>
          <a:srgbClr val="808080"/>
        </a:accent6>
        <a:hlink>
          <a:srgbClr val="0065BD"/>
        </a:hlink>
        <a:folHlink>
          <a:srgbClr val="1240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L&amp;T Infotech_CF_L&amp;T032.potx" id="{34C95363-F6E0-4F3D-8CDD-E49544867D5B}" vid="{9CC201C7-6B53-4F1C-9245-ADF10BAEA3B0}"/>
    </a:ext>
  </a:extLst>
</a:theme>
</file>

<file path=ppt/theme/theme4.xml><?xml version="1.0" encoding="utf-8"?>
<a:theme xmlns:a="http://schemas.openxmlformats.org/drawingml/2006/main" name="1_L&amp;T Infotech_CF_L&amp;T032">
  <a:themeElements>
    <a:clrScheme name="Current">
      <a:dk1>
        <a:srgbClr val="000000"/>
      </a:dk1>
      <a:lt1>
        <a:srgbClr val="FFFFFF"/>
      </a:lt1>
      <a:dk2>
        <a:srgbClr val="124079"/>
      </a:dk2>
      <a:lt2>
        <a:srgbClr val="FFFFFF"/>
      </a:lt2>
      <a:accent1>
        <a:srgbClr val="DDDDDD"/>
      </a:accent1>
      <a:accent2>
        <a:srgbClr val="FCC320"/>
      </a:accent2>
      <a:accent3>
        <a:srgbClr val="0065BD"/>
      </a:accent3>
      <a:accent4>
        <a:srgbClr val="124079"/>
      </a:accent4>
      <a:accent5>
        <a:srgbClr val="20BDBE"/>
      </a:accent5>
      <a:accent6>
        <a:srgbClr val="808080"/>
      </a:accent6>
      <a:hlink>
        <a:srgbClr val="0065BD"/>
      </a:hlink>
      <a:folHlink>
        <a:srgbClr val="124079"/>
      </a:folHlink>
    </a:clrScheme>
    <a:fontScheme name="Custom 3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24079"/>
        </a:dk2>
        <a:lt2>
          <a:srgbClr val="FFFFFF"/>
        </a:lt2>
        <a:accent1>
          <a:srgbClr val="DDDDDD"/>
        </a:accent1>
        <a:accent2>
          <a:srgbClr val="FCC320"/>
        </a:accent2>
        <a:accent3>
          <a:srgbClr val="0065BD"/>
        </a:accent3>
        <a:accent4>
          <a:srgbClr val="124079"/>
        </a:accent4>
        <a:accent5>
          <a:srgbClr val="20BDBE"/>
        </a:accent5>
        <a:accent6>
          <a:srgbClr val="808080"/>
        </a:accent6>
        <a:hlink>
          <a:srgbClr val="0065BD"/>
        </a:hlink>
        <a:folHlink>
          <a:srgbClr val="1240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L&amp;T Infotech_CF_L&amp;T032.potx" id="{34C95363-F6E0-4F3D-8CDD-E49544867D5B}" vid="{9CC201C7-6B53-4F1C-9245-ADF10BAEA3B0}"/>
    </a:ext>
  </a:extLst>
</a:theme>
</file>

<file path=ppt/theme/theme5.xml><?xml version="1.0" encoding="utf-8"?>
<a:theme xmlns:a="http://schemas.openxmlformats.org/drawingml/2006/main" name="2_L&amp;T Infotech">
  <a:themeElements>
    <a:clrScheme name="L&amp;T">
      <a:dk1>
        <a:srgbClr val="7C7C7C"/>
      </a:dk1>
      <a:lt1>
        <a:srgbClr val="FEFDFD"/>
      </a:lt1>
      <a:dk2>
        <a:srgbClr val="B2B2B2"/>
      </a:dk2>
      <a:lt2>
        <a:srgbClr val="FEFDFD"/>
      </a:lt2>
      <a:accent1>
        <a:srgbClr val="124079"/>
      </a:accent1>
      <a:accent2>
        <a:srgbClr val="7C7C7C"/>
      </a:accent2>
      <a:accent3>
        <a:srgbClr val="FCC320"/>
      </a:accent3>
      <a:accent4>
        <a:srgbClr val="20BDBE"/>
      </a:accent4>
      <a:accent5>
        <a:srgbClr val="706952"/>
      </a:accent5>
      <a:accent6>
        <a:srgbClr val="1AB26C"/>
      </a:accent6>
      <a:hlink>
        <a:srgbClr val="939598"/>
      </a:hlink>
      <a:folHlink>
        <a:srgbClr val="BBBDC0"/>
      </a:folHlink>
    </a:clrScheme>
    <a:fontScheme name="ICG Fonts">
      <a:majorFont>
        <a:latin typeface="Arial"/>
        <a:ea typeface="STKaiti"/>
        <a:cs typeface=""/>
      </a:majorFont>
      <a:minorFont>
        <a:latin typeface="Arial"/>
        <a:ea typeface="STKait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baseline="0" dirty="0">
            <a:ea typeface="+mj-ea"/>
          </a:defRPr>
        </a:defPPr>
      </a:lstStyle>
    </a:txDef>
  </a:objectDefaults>
  <a:extraClrSchemeLst>
    <a:extraClrScheme>
      <a:clrScheme name="ICG_Pres (A4) 1">
        <a:dk1>
          <a:srgbClr val="53565A"/>
        </a:dk1>
        <a:lt1>
          <a:srgbClr val="FFFFFF"/>
        </a:lt1>
        <a:dk2>
          <a:srgbClr val="97999B"/>
        </a:dk2>
        <a:lt2>
          <a:srgbClr val="53565A"/>
        </a:lt2>
        <a:accent1>
          <a:srgbClr val="002D72"/>
        </a:accent1>
        <a:accent2>
          <a:srgbClr val="99ABC7"/>
        </a:accent2>
        <a:accent3>
          <a:srgbClr val="FFFFFF"/>
        </a:accent3>
        <a:accent4>
          <a:srgbClr val="46484C"/>
        </a:accent4>
        <a:accent5>
          <a:srgbClr val="AAADBC"/>
        </a:accent5>
        <a:accent6>
          <a:srgbClr val="8A9BB4"/>
        </a:accent6>
        <a:hlink>
          <a:srgbClr val="00BDF2"/>
        </a:hlink>
        <a:folHlink>
          <a:srgbClr val="99E4F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Aqua">
      <a:srgbClr val="00B0B9"/>
    </a:custClr>
    <a:custClr name="Aqua Tint">
      <a:srgbClr val="99DFE3"/>
    </a:custClr>
    <a:custClr name="Goldenrod">
      <a:srgbClr val="C99700"/>
    </a:custClr>
    <a:custClr name="Goldenrod Tint">
      <a:srgbClr val="E9D599"/>
    </a:custClr>
    <a:custClr name="Forest">
      <a:srgbClr val="00843D"/>
    </a:custClr>
    <a:custClr name="Forest Tint">
      <a:srgbClr val="66B797"/>
    </a:custClr>
    <a:custClr name="Plum">
      <a:srgbClr val="890C58"/>
    </a:custClr>
    <a:custClr name="Plum Tint">
      <a:srgbClr val="B37A9F"/>
    </a:custClr>
    <a:custClr name="Olive">
      <a:srgbClr val="949300"/>
    </a:custClr>
    <a:custClr name="Olive Tint">
      <a:srgbClr val="D4D499"/>
    </a:custClr>
    <a:custClr name="Teal">
      <a:srgbClr val="007377"/>
    </a:custClr>
    <a:custClr name="Teal Tint">
      <a:srgbClr val="99C7C9"/>
    </a:custClr>
    <a:custClr name="Tangerine">
      <a:srgbClr val="ED8B00"/>
    </a:custClr>
    <a:custClr name="Tangerine Tint">
      <a:srgbClr val="F8D199"/>
    </a:custClr>
    <a:custClr name="Purple">
      <a:srgbClr val="6B3077"/>
    </a:custClr>
    <a:custClr name="Purple Tint">
      <a:srgbClr val="C4ACC9"/>
    </a:custClr>
    <a:custClr name="Green">
      <a:srgbClr val="84BD00"/>
    </a:custClr>
    <a:custClr name="Green Tint">
      <a:srgbClr val="CEE599"/>
    </a:custClr>
    <a:custClr name="White">
      <a:srgbClr val="FFFFFF"/>
    </a:custClr>
    <a:custClr name="White">
      <a:srgbClr val="FFFFFF"/>
    </a:custClr>
    <a:custClr name="Burnt Orange">
      <a:srgbClr val="CB6015"/>
    </a:custClr>
    <a:custClr name="Citi Cyan Tint (20%)">
      <a:srgbClr val="CCF2FC"/>
    </a:custClr>
    <a:custClr name="Citi Light Gray Tint(20%)">
      <a:srgbClr val="EAEBEB"/>
    </a:custClr>
  </a:custClrLst>
  <a:extLst>
    <a:ext uri="{05A4C25C-085E-4340-85A3-A5531E510DB2}">
      <thm15:themeFamily xmlns:thm15="http://schemas.microsoft.com/office/thememl/2012/main" name="blanks" id="{73A2CC62-241F-42EB-98D3-60529F600B2F}" vid="{D8D679E5-4CB0-43F7-89B6-5B5902725F39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B793523489144692F642438647A90B" ma:contentTypeVersion="9" ma:contentTypeDescription="Create a new document." ma:contentTypeScope="" ma:versionID="672fbe5a40bdf63a285672db21c905ef">
  <xsd:schema xmlns:xsd="http://www.w3.org/2001/XMLSchema" xmlns:xs="http://www.w3.org/2001/XMLSchema" xmlns:p="http://schemas.microsoft.com/office/2006/metadata/properties" xmlns:ns2="ab2fee6a-08d5-4e21-8f75-6aa7d52dd912" xmlns:ns3="4ff20c20-38b2-49e5-b553-eeb0028eb2de" targetNamespace="http://schemas.microsoft.com/office/2006/metadata/properties" ma:root="true" ma:fieldsID="80f5e4687c6f0355c91c24f99d7c825c" ns2:_="" ns3:_="">
    <xsd:import namespace="ab2fee6a-08d5-4e21-8f75-6aa7d52dd912"/>
    <xsd:import namespace="4ff20c20-38b2-49e5-b553-eeb0028eb2d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2fee6a-08d5-4e21-8f75-6aa7d52dd91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f20c20-38b2-49e5-b553-eeb0028eb2d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ABB6DC8-0142-4676-96FE-F1693BA9504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4559248-63FA-4C6E-A37D-96FF4426E5C5}">
  <ds:schemaRefs>
    <ds:schemaRef ds:uri="http://purl.org/dc/terms/"/>
    <ds:schemaRef ds:uri="http://purl.org/dc/dcmitype/"/>
    <ds:schemaRef ds:uri="http://schemas.microsoft.com/office/infopath/2007/PartnerControls"/>
    <ds:schemaRef ds:uri="http://www.w3.org/XML/1998/namespace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4ff20c20-38b2-49e5-b553-eeb0028eb2de"/>
    <ds:schemaRef ds:uri="ab2fee6a-08d5-4e21-8f75-6aa7d52dd912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397AA304-1829-4710-8D7A-6FFE62C6465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2fee6a-08d5-4e21-8f75-6aa7d52dd912"/>
    <ds:schemaRef ds:uri="4ff20c20-38b2-49e5-b553-eeb0028eb2d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176</TotalTime>
  <Words>32</Words>
  <Application>Microsoft Office PowerPoint</Application>
  <PresentationFormat>On-screen Show (16:9)</PresentationFormat>
  <Paragraphs>13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5" baseType="lpstr">
      <vt:lpstr>Arial</vt:lpstr>
      <vt:lpstr>Calibri</vt:lpstr>
      <vt:lpstr>Calibri Light</vt:lpstr>
      <vt:lpstr>Symbol</vt:lpstr>
      <vt:lpstr>Wingdings</vt:lpstr>
      <vt:lpstr>L&amp;T Infotech</vt:lpstr>
      <vt:lpstr>Custom Design</vt:lpstr>
      <vt:lpstr>L&amp;T Infotech_CF_L&amp;T032</vt:lpstr>
      <vt:lpstr>1_L&amp;T Infotech_CF_L&amp;T032</vt:lpstr>
      <vt:lpstr>2_L&amp;T Infotech</vt:lpstr>
      <vt:lpstr>think-cell Slide</vt:lpstr>
      <vt:lpstr>Ecommerce Bot POC</vt:lpstr>
      <vt:lpstr>Ecommerce Bot POC</vt:lpstr>
      <vt:lpstr>PowerPoint Presentation</vt:lpstr>
      <vt:lpstr>PowerPoint Presentation</vt:lpstr>
    </vt:vector>
  </TitlesOfParts>
  <Company>Cit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CG_Pres(A4)</dc:title>
  <dc:creator>Deep Manek</dc:creator>
  <cp:lastModifiedBy>Deep Manek</cp:lastModifiedBy>
  <cp:revision>2772</cp:revision>
  <cp:lastPrinted>2015-11-28T12:28:20Z</cp:lastPrinted>
  <dcterms:created xsi:type="dcterms:W3CDTF">2007-05-25T22:38:05Z</dcterms:created>
  <dcterms:modified xsi:type="dcterms:W3CDTF">2021-03-15T13:23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B793523489144692F642438647A90B</vt:lpwstr>
  </property>
  <property fmtid="{D5CDD505-2E9C-101B-9397-08002B2CF9AE}" pid="3" name="TOCOpt">
    <vt:lpwstr>1</vt:lpwstr>
  </property>
  <property fmtid="{D5CDD505-2E9C-101B-9397-08002B2CF9AE}" pid="4" name="PNSOpt">
    <vt:lpwstr>1</vt:lpwstr>
  </property>
  <property fmtid="{D5CDD505-2E9C-101B-9397-08002B2CF9AE}" pid="5" name="Pitchbook Compatible">
    <vt:lpwstr>Yes</vt:lpwstr>
  </property>
</Properties>
</file>